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6" r:id="rId2"/>
    <p:sldId id="3462" r:id="rId3"/>
    <p:sldId id="266" r:id="rId4"/>
    <p:sldId id="3465" r:id="rId5"/>
    <p:sldId id="3466" r:id="rId6"/>
    <p:sldId id="3468" r:id="rId7"/>
    <p:sldId id="3469" r:id="rId8"/>
    <p:sldId id="279" r:id="rId9"/>
    <p:sldId id="286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D459D7B6-FC8E-425C-AB54-6C44C0DE932C}">
          <p14:sldIdLst>
            <p14:sldId id="256"/>
            <p14:sldId id="3462"/>
            <p14:sldId id="266"/>
            <p14:sldId id="3465"/>
            <p14:sldId id="3466"/>
            <p14:sldId id="3468"/>
            <p14:sldId id="3469"/>
            <p14:sldId id="279"/>
            <p14:sldId id="28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69" autoAdjust="0"/>
    <p:restoredTop sz="93665" autoAdjust="0"/>
  </p:normalViewPr>
  <p:slideViewPr>
    <p:cSldViewPr snapToGrid="0">
      <p:cViewPr varScale="1">
        <p:scale>
          <a:sx n="95" d="100"/>
          <a:sy n="95" d="100"/>
        </p:scale>
        <p:origin x="44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BF358F-9E56-4B44-8248-ABC5B12C46B9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BC1986-4D1B-4ADE-B7D0-DAD63655E18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92730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3148A6-4E77-425C-B167-595E027ABE06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4329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BC1986-4D1B-4ADE-B7D0-DAD63655E183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11021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BC1986-4D1B-4ADE-B7D0-DAD63655E183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98647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A82274-44C6-D04B-2816-415128CA7D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FC4575B-F5D6-B363-B652-809EE5A4D5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1C85851-9365-5998-ACDE-258D55E601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DD6DFDF-2D07-C1ED-59AB-024158E181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BC1986-4D1B-4ADE-B7D0-DAD63655E183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16693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E66959-5443-45E4-86B5-F9D08F7D47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E0DA0BD-FD0E-EBCE-80F4-01445E7B8F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40FFB021-E03A-6F68-C790-DFC98886DC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45C4533-222B-C121-053B-17F82B0DAC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BC1986-4D1B-4ADE-B7D0-DAD63655E183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6291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DA160C-1328-D8DA-DEED-D724749DCA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8B01484-FA5D-CDFC-97FA-BB7A815BA0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9128D6B-01F3-867F-63EC-FDE50C350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1D828-D64C-47AE-9E08-C19520F6811A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478FE5C-AFC8-5998-B212-009695FB3F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2BAEFCC-8E49-A5C5-EAC4-C1E0BB5FE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E190A-68EB-4143-809C-3035EC95FE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94524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12E1108-09E2-84C1-A02A-B073F6BD3A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C57AB486-B1BB-58FB-E425-8D4333EA12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98C38DE-FCA3-5269-47AA-7136F6CB9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1D828-D64C-47AE-9E08-C19520F6811A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439F2BE-4DC1-3CD4-1DEE-E2376C7C1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8FAFE6D-48DC-7C10-7D4E-F92347FCF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E190A-68EB-4143-809C-3035EC95FE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75211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79523383-286C-5FC0-F5E3-FA45A26D1C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C4F04F4-81C5-CBA4-B5A4-B2A9A5DF98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6AAD3A0-B07E-5A19-D779-B59F2E9AF2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1D828-D64C-47AE-9E08-C19520F6811A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B801EF0-77AE-DB51-92C9-D52871DBC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5DF0843-75D1-8ECB-6FE6-A4275A32EC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E190A-68EB-4143-809C-3035EC95FE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0146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97" name="矩形 10896">
            <a:extLst>
              <a:ext uri="{FF2B5EF4-FFF2-40B4-BE49-F238E27FC236}">
                <a16:creationId xmlns:a16="http://schemas.microsoft.com/office/drawing/2014/main" id="{93D06545-8752-4634-AD8C-C1547DD80F7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588" y="3176"/>
            <a:ext cx="12192000" cy="6848475"/>
          </a:xfrm>
          <a:prstGeom prst="rect">
            <a:avLst/>
          </a:prstGeom>
          <a:solidFill>
            <a:srgbClr val="002A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294D98D6-DA3E-42D0-934E-0817D7D5B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60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294D98D6-DA3E-42D0-934E-0817D7D5B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B0737454-4F17-4986-BB54-BF023699DC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i="0" baseline="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943428" y="3005379"/>
            <a:ext cx="8592458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943428" y="2266962"/>
            <a:ext cx="8592458" cy="698591"/>
          </a:xfrm>
        </p:spPr>
        <p:txBody>
          <a:bodyPr anchor="ctr">
            <a:no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43428" y="3895549"/>
            <a:ext cx="859245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43428" y="4191820"/>
            <a:ext cx="859245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0898" name="矩形 10897">
            <a:extLst>
              <a:ext uri="{FF2B5EF4-FFF2-40B4-BE49-F238E27FC236}">
                <a16:creationId xmlns:a16="http://schemas.microsoft.com/office/drawing/2014/main" id="{2BE9AC23-F585-4577-8BD1-01D8A197314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588" y="3176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65107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>
            <a:extLst>
              <a:ext uri="{FF2B5EF4-FFF2-40B4-BE49-F238E27FC236}">
                <a16:creationId xmlns:a16="http://schemas.microsoft.com/office/drawing/2014/main" id="{2392993E-6165-4F6D-9F9F-B394F3DE1F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9" name="任意多边形: 形状 8"/>
          <p:cNvSpPr/>
          <p:nvPr userDrawn="1"/>
        </p:nvSpPr>
        <p:spPr>
          <a:xfrm>
            <a:off x="918202" y="1550163"/>
            <a:ext cx="4273980" cy="3757674"/>
          </a:xfrm>
          <a:custGeom>
            <a:avLst/>
            <a:gdLst>
              <a:gd name="connsiteX0" fmla="*/ 38037 w 4273980"/>
              <a:gd name="connsiteY0" fmla="*/ 1717840 h 3757674"/>
              <a:gd name="connsiteX1" fmla="*/ 797455 w 4273980"/>
              <a:gd name="connsiteY1" fmla="*/ 199003 h 3757674"/>
              <a:gd name="connsiteX2" fmla="*/ 1119449 w 4273980"/>
              <a:gd name="connsiteY2" fmla="*/ 0 h 3757674"/>
              <a:gd name="connsiteX3" fmla="*/ 3154533 w 4273980"/>
              <a:gd name="connsiteY3" fmla="*/ 0 h 3757674"/>
              <a:gd name="connsiteX4" fmla="*/ 3476527 w 4273980"/>
              <a:gd name="connsiteY4" fmla="*/ 199003 h 3757674"/>
              <a:gd name="connsiteX5" fmla="*/ 4235945 w 4273980"/>
              <a:gd name="connsiteY5" fmla="*/ 1717840 h 3757674"/>
              <a:gd name="connsiteX6" fmla="*/ 4235945 w 4273980"/>
              <a:gd name="connsiteY6" fmla="*/ 2039834 h 3757674"/>
              <a:gd name="connsiteX7" fmla="*/ 3476527 w 4273980"/>
              <a:gd name="connsiteY7" fmla="*/ 3558671 h 3757674"/>
              <a:gd name="connsiteX8" fmla="*/ 3154533 w 4273980"/>
              <a:gd name="connsiteY8" fmla="*/ 3757674 h 3757674"/>
              <a:gd name="connsiteX9" fmla="*/ 1119449 w 4273980"/>
              <a:gd name="connsiteY9" fmla="*/ 3757674 h 3757674"/>
              <a:gd name="connsiteX10" fmla="*/ 797455 w 4273980"/>
              <a:gd name="connsiteY10" fmla="*/ 3558671 h 3757674"/>
              <a:gd name="connsiteX11" fmla="*/ 38037 w 4273980"/>
              <a:gd name="connsiteY11" fmla="*/ 2039834 h 3757674"/>
              <a:gd name="connsiteX12" fmla="*/ 38037 w 4273980"/>
              <a:gd name="connsiteY12" fmla="*/ 1717840 h 375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273980" h="3757674">
                <a:moveTo>
                  <a:pt x="38037" y="1717840"/>
                </a:moveTo>
                <a:lnTo>
                  <a:pt x="797455" y="199003"/>
                </a:lnTo>
                <a:cubicBezTo>
                  <a:pt x="858450" y="77014"/>
                  <a:pt x="983061" y="0"/>
                  <a:pt x="1119449" y="0"/>
                </a:cubicBezTo>
                <a:lnTo>
                  <a:pt x="3154533" y="0"/>
                </a:lnTo>
                <a:cubicBezTo>
                  <a:pt x="3290921" y="0"/>
                  <a:pt x="3415532" y="77014"/>
                  <a:pt x="3476527" y="199003"/>
                </a:cubicBezTo>
                <a:lnTo>
                  <a:pt x="4235945" y="1717840"/>
                </a:lnTo>
                <a:cubicBezTo>
                  <a:pt x="4286659" y="1819268"/>
                  <a:pt x="4286659" y="1938406"/>
                  <a:pt x="4235945" y="2039834"/>
                </a:cubicBezTo>
                <a:lnTo>
                  <a:pt x="3476527" y="3558671"/>
                </a:lnTo>
                <a:cubicBezTo>
                  <a:pt x="3415532" y="3680660"/>
                  <a:pt x="3290921" y="3757674"/>
                  <a:pt x="3154533" y="3757674"/>
                </a:cubicBezTo>
                <a:lnTo>
                  <a:pt x="1119449" y="3757674"/>
                </a:lnTo>
                <a:cubicBezTo>
                  <a:pt x="983061" y="3757674"/>
                  <a:pt x="858450" y="3680660"/>
                  <a:pt x="797455" y="3558671"/>
                </a:cubicBezTo>
                <a:lnTo>
                  <a:pt x="38037" y="2039834"/>
                </a:lnTo>
                <a:cubicBezTo>
                  <a:pt x="-12678" y="1938406"/>
                  <a:pt x="-12678" y="1819268"/>
                  <a:pt x="38037" y="1717840"/>
                </a:cubicBezTo>
              </a:path>
            </a:pathLst>
          </a:custGeom>
          <a:blipFill dpi="0" rotWithShape="1">
            <a:blip r:embed="rId3"/>
            <a:srcRect/>
            <a:tile tx="0" ty="0" sx="100000" sy="100000" flip="none" algn="ctr"/>
          </a:blip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>
            <a:off x="1774167" y="2333767"/>
            <a:ext cx="2461574" cy="2190464"/>
          </a:xfrm>
          <a:custGeom>
            <a:avLst/>
            <a:gdLst>
              <a:gd name="connsiteX0" fmla="*/ 38036 w 2633968"/>
              <a:gd name="connsiteY0" fmla="*/ 1010939 h 2343872"/>
              <a:gd name="connsiteX1" fmla="*/ 444004 w 2633968"/>
              <a:gd name="connsiteY1" fmla="*/ 199003 h 2343872"/>
              <a:gd name="connsiteX2" fmla="*/ 765998 w 2633968"/>
              <a:gd name="connsiteY2" fmla="*/ 0 h 2343872"/>
              <a:gd name="connsiteX3" fmla="*/ 1867971 w 2633968"/>
              <a:gd name="connsiteY3" fmla="*/ 0 h 2343872"/>
              <a:gd name="connsiteX4" fmla="*/ 2189965 w 2633968"/>
              <a:gd name="connsiteY4" fmla="*/ 199003 h 2343872"/>
              <a:gd name="connsiteX5" fmla="*/ 2595932 w 2633968"/>
              <a:gd name="connsiteY5" fmla="*/ 1010939 h 2343872"/>
              <a:gd name="connsiteX6" fmla="*/ 2595933 w 2633968"/>
              <a:gd name="connsiteY6" fmla="*/ 1332933 h 2343872"/>
              <a:gd name="connsiteX7" fmla="*/ 2189965 w 2633968"/>
              <a:gd name="connsiteY7" fmla="*/ 2144869 h 2343872"/>
              <a:gd name="connsiteX8" fmla="*/ 1867971 w 2633968"/>
              <a:gd name="connsiteY8" fmla="*/ 2343872 h 2343872"/>
              <a:gd name="connsiteX9" fmla="*/ 765998 w 2633968"/>
              <a:gd name="connsiteY9" fmla="*/ 2343872 h 2343872"/>
              <a:gd name="connsiteX10" fmla="*/ 444004 w 2633968"/>
              <a:gd name="connsiteY10" fmla="*/ 2144869 h 2343872"/>
              <a:gd name="connsiteX11" fmla="*/ 38036 w 2633968"/>
              <a:gd name="connsiteY11" fmla="*/ 1332933 h 2343872"/>
              <a:gd name="connsiteX12" fmla="*/ 38036 w 2633968"/>
              <a:gd name="connsiteY12" fmla="*/ 1010939 h 2343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33968" h="2343872">
                <a:moveTo>
                  <a:pt x="38036" y="1010939"/>
                </a:moveTo>
                <a:lnTo>
                  <a:pt x="444004" y="199003"/>
                </a:lnTo>
                <a:cubicBezTo>
                  <a:pt x="504999" y="77014"/>
                  <a:pt x="629610" y="0"/>
                  <a:pt x="765998" y="0"/>
                </a:cubicBezTo>
                <a:lnTo>
                  <a:pt x="1867971" y="0"/>
                </a:lnTo>
                <a:cubicBezTo>
                  <a:pt x="2004359" y="0"/>
                  <a:pt x="2128970" y="77014"/>
                  <a:pt x="2189965" y="199003"/>
                </a:cubicBezTo>
                <a:lnTo>
                  <a:pt x="2595932" y="1010939"/>
                </a:lnTo>
                <a:cubicBezTo>
                  <a:pt x="2646647" y="1112367"/>
                  <a:pt x="2646647" y="1231505"/>
                  <a:pt x="2595933" y="1332933"/>
                </a:cubicBezTo>
                <a:lnTo>
                  <a:pt x="2189965" y="2144869"/>
                </a:lnTo>
                <a:cubicBezTo>
                  <a:pt x="2128970" y="2266858"/>
                  <a:pt x="2004359" y="2343872"/>
                  <a:pt x="1867971" y="2343872"/>
                </a:cubicBezTo>
                <a:lnTo>
                  <a:pt x="765998" y="2343872"/>
                </a:lnTo>
                <a:cubicBezTo>
                  <a:pt x="629610" y="2343872"/>
                  <a:pt x="504999" y="2266858"/>
                  <a:pt x="444004" y="2144869"/>
                </a:cubicBezTo>
                <a:lnTo>
                  <a:pt x="38036" y="1332933"/>
                </a:lnTo>
                <a:cubicBezTo>
                  <a:pt x="-12679" y="1231505"/>
                  <a:pt x="-12678" y="1112367"/>
                  <a:pt x="38036" y="1010939"/>
                </a:cubicBezTo>
              </a:path>
            </a:pathLst>
          </a:custGeom>
          <a:solidFill>
            <a:schemeClr val="bg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9" name="矩形 18"/>
          <p:cNvSpPr/>
          <p:nvPr userDrawn="1"/>
        </p:nvSpPr>
        <p:spPr>
          <a:xfrm>
            <a:off x="9220200" y="0"/>
            <a:ext cx="29718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 userDrawn="1"/>
        </p:nvSpPr>
        <p:spPr>
          <a:xfrm>
            <a:off x="6166338" y="2368684"/>
            <a:ext cx="4943622" cy="1123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algn="ctr" rotWithShape="0">
              <a:schemeClr val="accent1">
                <a:lumMod val="50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5</a:t>
            </a:r>
          </a:p>
          <a:p>
            <a:pPr algn="ctr"/>
            <a:endParaRPr lang="zh-CN" altLang="en-US"/>
          </a:p>
        </p:txBody>
      </p:sp>
      <p:sp>
        <p:nvSpPr>
          <p:cNvPr id="21" name="矩形 20"/>
          <p:cNvSpPr/>
          <p:nvPr userDrawn="1"/>
        </p:nvSpPr>
        <p:spPr>
          <a:xfrm>
            <a:off x="6166338" y="3689710"/>
            <a:ext cx="4943622" cy="1123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algn="ctr" rotWithShape="0">
              <a:schemeClr val="accent1">
                <a:lumMod val="50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5</a:t>
            </a:r>
          </a:p>
          <a:p>
            <a:pPr algn="ctr"/>
            <a:endParaRPr lang="zh-CN" altLang="en-US"/>
          </a:p>
        </p:txBody>
      </p:sp>
      <p:sp>
        <p:nvSpPr>
          <p:cNvPr id="22" name="矩形 21"/>
          <p:cNvSpPr/>
          <p:nvPr userDrawn="1"/>
        </p:nvSpPr>
        <p:spPr>
          <a:xfrm>
            <a:off x="6166338" y="5010737"/>
            <a:ext cx="4943622" cy="1123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algn="ctr" rotWithShape="0">
              <a:schemeClr val="accent1">
                <a:lumMod val="50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5</a:t>
            </a:r>
          </a:p>
          <a:p>
            <a:pPr algn="ctr"/>
            <a:endParaRPr lang="zh-CN" altLang="en-US"/>
          </a:p>
        </p:txBody>
      </p:sp>
      <p:sp>
        <p:nvSpPr>
          <p:cNvPr id="25" name="矩形 24"/>
          <p:cNvSpPr/>
          <p:nvPr userDrawn="1"/>
        </p:nvSpPr>
        <p:spPr>
          <a:xfrm>
            <a:off x="6166338" y="1047658"/>
            <a:ext cx="4943622" cy="11233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algn="ctr" rotWithShape="0">
              <a:schemeClr val="accent1">
                <a:lumMod val="50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5</a:t>
            </a:r>
          </a:p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943686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OfficePL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28386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">
    <p:bg>
      <p:bgPr>
        <a:gradFill>
          <a:gsLst>
            <a:gs pos="100000">
              <a:schemeClr val="accent1">
                <a:lumMod val="20000"/>
                <a:lumOff val="80000"/>
                <a:alpha val="28000"/>
              </a:schemeClr>
            </a:gs>
            <a:gs pos="0">
              <a:schemeClr val="accent3">
                <a:lumMod val="20000"/>
                <a:lumOff val="8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C81BA447-2A0D-4B98-8172-B62067A8E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FDE86-ACDE-44B1-B9C2-5248531312A1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9CF8324-92A3-4618-9CC7-5D7887FDB5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1085AA4A-B82C-48A1-8419-4F7A210DD8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AA983-6466-46CE-8864-4FDD53A4E91C}" type="slidenum">
              <a:rPr lang="zh-CN" altLang="en-US" smtClean="0"/>
              <a:t>‹#›</a:t>
            </a:fld>
            <a:endParaRPr lang="zh-CN" altLang="en-US"/>
          </a:p>
        </p:txBody>
      </p:sp>
      <p:grpSp>
        <p:nvGrpSpPr>
          <p:cNvPr id="63" name="组合 62">
            <a:extLst>
              <a:ext uri="{FF2B5EF4-FFF2-40B4-BE49-F238E27FC236}">
                <a16:creationId xmlns:a16="http://schemas.microsoft.com/office/drawing/2014/main" id="{ECF6094A-63D2-5684-48BD-D7693CF81D8E}"/>
              </a:ext>
            </a:extLst>
          </p:cNvPr>
          <p:cNvGrpSpPr/>
          <p:nvPr userDrawn="1"/>
        </p:nvGrpSpPr>
        <p:grpSpPr>
          <a:xfrm>
            <a:off x="515938" y="186347"/>
            <a:ext cx="943392" cy="1062381"/>
            <a:chOff x="466249" y="379387"/>
            <a:chExt cx="943392" cy="1062381"/>
          </a:xfrm>
        </p:grpSpPr>
        <p:sp>
          <p:nvSpPr>
            <p:cNvPr id="64" name="椭圆 63">
              <a:extLst>
                <a:ext uri="{FF2B5EF4-FFF2-40B4-BE49-F238E27FC236}">
                  <a16:creationId xmlns:a16="http://schemas.microsoft.com/office/drawing/2014/main" id="{8513EBF4-5635-1D28-E8BD-06CEA8BCAE7F}"/>
                </a:ext>
              </a:extLst>
            </p:cNvPr>
            <p:cNvSpPr/>
            <p:nvPr/>
          </p:nvSpPr>
          <p:spPr>
            <a:xfrm>
              <a:off x="515938" y="608330"/>
              <a:ext cx="407670" cy="407670"/>
            </a:xfrm>
            <a:prstGeom prst="ellipse">
              <a:avLst/>
            </a:prstGeom>
            <a:gradFill flip="none" rotWithShape="1">
              <a:gsLst>
                <a:gs pos="37000">
                  <a:schemeClr val="accent2"/>
                </a:gs>
                <a:gs pos="100000">
                  <a:schemeClr val="accent3"/>
                </a:gs>
                <a:gs pos="0">
                  <a:schemeClr val="accent1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5" name="椭圆 64">
              <a:extLst>
                <a:ext uri="{FF2B5EF4-FFF2-40B4-BE49-F238E27FC236}">
                  <a16:creationId xmlns:a16="http://schemas.microsoft.com/office/drawing/2014/main" id="{3F716CF7-37C5-83D3-5375-0E432B0F143F}"/>
                </a:ext>
              </a:extLst>
            </p:cNvPr>
            <p:cNvSpPr/>
            <p:nvPr/>
          </p:nvSpPr>
          <p:spPr>
            <a:xfrm>
              <a:off x="896878" y="379387"/>
              <a:ext cx="152838" cy="152838"/>
            </a:xfrm>
            <a:prstGeom prst="ellipse">
              <a:avLst/>
            </a:prstGeom>
            <a:gradFill flip="none" rotWithShape="1">
              <a:gsLst>
                <a:gs pos="100000">
                  <a:schemeClr val="accent5">
                    <a:alpha val="19000"/>
                  </a:schemeClr>
                </a:gs>
                <a:gs pos="0">
                  <a:schemeClr val="accent5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66" name="椭圆 65">
              <a:extLst>
                <a:ext uri="{FF2B5EF4-FFF2-40B4-BE49-F238E27FC236}">
                  <a16:creationId xmlns:a16="http://schemas.microsoft.com/office/drawing/2014/main" id="{F1869FD5-DE44-9A5F-B202-21F4F6CB9DB1}"/>
                </a:ext>
              </a:extLst>
            </p:cNvPr>
            <p:cNvSpPr/>
            <p:nvPr/>
          </p:nvSpPr>
          <p:spPr>
            <a:xfrm>
              <a:off x="1256803" y="553667"/>
              <a:ext cx="152838" cy="152838"/>
            </a:xfrm>
            <a:prstGeom prst="ellipse">
              <a:avLst/>
            </a:prstGeom>
            <a:gradFill flip="none" rotWithShape="1">
              <a:gsLst>
                <a:gs pos="48300">
                  <a:schemeClr val="accent2">
                    <a:alpha val="86000"/>
                  </a:schemeClr>
                </a:gs>
                <a:gs pos="100000">
                  <a:schemeClr val="accent3"/>
                </a:gs>
                <a:gs pos="0">
                  <a:schemeClr val="accent1">
                    <a:alpha val="8000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7" name="椭圆 66">
              <a:extLst>
                <a:ext uri="{FF2B5EF4-FFF2-40B4-BE49-F238E27FC236}">
                  <a16:creationId xmlns:a16="http://schemas.microsoft.com/office/drawing/2014/main" id="{FF729942-7519-A96C-F6A6-B8CACA547A52}"/>
                </a:ext>
              </a:extLst>
            </p:cNvPr>
            <p:cNvSpPr/>
            <p:nvPr/>
          </p:nvSpPr>
          <p:spPr>
            <a:xfrm>
              <a:off x="466249" y="934720"/>
              <a:ext cx="507048" cy="507048"/>
            </a:xfrm>
            <a:prstGeom prst="ellipse">
              <a:avLst/>
            </a:prstGeom>
            <a:gradFill flip="none" rotWithShape="1">
              <a:gsLst>
                <a:gs pos="48300">
                  <a:schemeClr val="accent2">
                    <a:alpha val="86000"/>
                  </a:schemeClr>
                </a:gs>
                <a:gs pos="100000">
                  <a:schemeClr val="accent3"/>
                </a:gs>
                <a:gs pos="0">
                  <a:schemeClr val="accent1">
                    <a:alpha val="80000"/>
                  </a:schemeClr>
                </a:gs>
              </a:gsLst>
              <a:lin ang="18900000" scaled="1"/>
              <a:tileRect/>
            </a:gradFill>
            <a:ln>
              <a:noFill/>
            </a:ln>
            <a:effectLst>
              <a:softEdge rad="1778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8" name="标题 67">
            <a:extLst>
              <a:ext uri="{FF2B5EF4-FFF2-40B4-BE49-F238E27FC236}">
                <a16:creationId xmlns:a16="http://schemas.microsoft.com/office/drawing/2014/main" id="{EFCFFDA8-A779-A8E0-B9D1-856F1EB82E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154" y="480155"/>
            <a:ext cx="10040935" cy="600710"/>
          </a:xfrm>
          <a:prstGeom prst="rect">
            <a:avLst/>
          </a:prstGeom>
        </p:spPr>
        <p:txBody>
          <a:bodyPr/>
          <a:lstStyle>
            <a:lvl1pPr>
              <a:defRPr sz="3600" spc="600">
                <a:solidFill>
                  <a:schemeClr val="accent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8455334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结尾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B1F28F8-692B-485A-80F4-87F05F55511F}"/>
              </a:ext>
            </a:extLst>
          </p:cNvPr>
          <p:cNvGrpSpPr/>
          <p:nvPr userDrawn="1"/>
        </p:nvGrpSpPr>
        <p:grpSpPr>
          <a:xfrm>
            <a:off x="3767402" y="2505670"/>
            <a:ext cx="4657196" cy="923330"/>
            <a:chOff x="2370667" y="2413000"/>
            <a:chExt cx="4657196" cy="923330"/>
          </a:xfrm>
        </p:grpSpPr>
        <p:sp>
          <p:nvSpPr>
            <p:cNvPr id="3" name="文本框 2">
              <a:extLst>
                <a:ext uri="{FF2B5EF4-FFF2-40B4-BE49-F238E27FC236}">
                  <a16:creationId xmlns:a16="http://schemas.microsoft.com/office/drawing/2014/main" id="{835BF990-7ACA-4178-BFE4-7B815A74B9C1}"/>
                </a:ext>
              </a:extLst>
            </p:cNvPr>
            <p:cNvSpPr txBox="1"/>
            <p:nvPr/>
          </p:nvSpPr>
          <p:spPr>
            <a:xfrm>
              <a:off x="2370667" y="2413000"/>
              <a:ext cx="3047309" cy="92333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6000" dirty="0"/>
                <a:t>THANKS</a:t>
              </a:r>
              <a:endParaRPr lang="zh-CN" altLang="en-US" sz="6000" dirty="0"/>
            </a:p>
          </p:txBody>
        </p:sp>
        <p:grpSp>
          <p:nvGrpSpPr>
            <p:cNvPr id="4" name="组合 3">
              <a:extLst>
                <a:ext uri="{FF2B5EF4-FFF2-40B4-BE49-F238E27FC236}">
                  <a16:creationId xmlns:a16="http://schemas.microsoft.com/office/drawing/2014/main" id="{337249C1-836E-4533-9FF1-F1EE19340299}"/>
                </a:ext>
              </a:extLst>
            </p:cNvPr>
            <p:cNvGrpSpPr/>
            <p:nvPr/>
          </p:nvGrpSpPr>
          <p:grpSpPr>
            <a:xfrm>
              <a:off x="5753106" y="2597408"/>
              <a:ext cx="1147750" cy="582097"/>
              <a:chOff x="5770563" y="2584450"/>
              <a:chExt cx="1147750" cy="582097"/>
            </a:xfrm>
          </p:grpSpPr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35C77702-C708-4F04-9DE2-429B1489482E}"/>
                  </a:ext>
                </a:extLst>
              </p:cNvPr>
              <p:cNvSpPr txBox="1"/>
              <p:nvPr/>
            </p:nvSpPr>
            <p:spPr>
              <a:xfrm>
                <a:off x="5770563" y="2584450"/>
                <a:ext cx="111248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altLang="zh-CN" sz="2000" dirty="0"/>
                  <a:t>For Your </a:t>
                </a:r>
                <a:endParaRPr lang="zh-CN" altLang="en-US" sz="2000" dirty="0"/>
              </a:p>
            </p:txBody>
          </p:sp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58BC6E5B-D650-4AC9-B540-3F2E1285D211}"/>
                  </a:ext>
                </a:extLst>
              </p:cNvPr>
              <p:cNvSpPr txBox="1"/>
              <p:nvPr/>
            </p:nvSpPr>
            <p:spPr>
              <a:xfrm>
                <a:off x="5770563" y="2858770"/>
                <a:ext cx="1147750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altLang="zh-CN" sz="2000"/>
                  <a:t>Attention</a:t>
                </a:r>
                <a:endParaRPr lang="zh-CN" altLang="en-US" sz="2000" dirty="0"/>
              </a:p>
            </p:txBody>
          </p:sp>
        </p:grpSp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8DE441CB-4C0C-40EA-952B-9324851B953C}"/>
                </a:ext>
              </a:extLst>
            </p:cNvPr>
            <p:cNvSpPr/>
            <p:nvPr/>
          </p:nvSpPr>
          <p:spPr>
            <a:xfrm>
              <a:off x="5626100" y="2557463"/>
              <a:ext cx="1401763" cy="661987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E291B9F5-A9C2-4A05-81EE-0022BDB270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675" y="6155617"/>
            <a:ext cx="1179810" cy="153888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zh-CN" altLang="en-US" sz="1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  <a:cs typeface="+mn-cs"/>
              </a:defRPr>
            </a:lvl1pPr>
          </a:lstStyle>
          <a:p>
            <a:pPr lvl="0"/>
            <a:r>
              <a:rPr lang="en-US" altLang="zh-CN" dirty="0"/>
              <a:t>20XX·March 14th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5A163F50-ABB8-4705-8FE8-1669E7901FAC}"/>
              </a:ext>
            </a:extLst>
          </p:cNvPr>
          <p:cNvSpPr txBox="1"/>
          <p:nvPr userDrawn="1"/>
        </p:nvSpPr>
        <p:spPr>
          <a:xfrm>
            <a:off x="10230334" y="6155617"/>
            <a:ext cx="1263166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zh-CN"/>
            </a:defPPr>
            <a:lvl1pPr algn="dist">
              <a:defRPr sz="100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defRPr>
            </a:lvl1pPr>
          </a:lstStyle>
          <a:p>
            <a:pPr lvl="0" algn="r"/>
            <a:r>
              <a:rPr lang="en-US" altLang="zh-CN" cap="none" baseline="0" dirty="0"/>
              <a:t>www.officeplus.cn</a:t>
            </a:r>
            <a:endParaRPr lang="zh-CN" altLang="en-US" cap="none" baseline="0" dirty="0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6D05871A-46B0-4E81-969D-2BB130FF51FE}"/>
              </a:ext>
            </a:extLst>
          </p:cNvPr>
          <p:cNvCxnSpPr>
            <a:cxnSpLocks/>
          </p:cNvCxnSpPr>
          <p:nvPr userDrawn="1"/>
        </p:nvCxnSpPr>
        <p:spPr>
          <a:xfrm>
            <a:off x="695325" y="6063915"/>
            <a:ext cx="10801349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4F755F81-E1AC-442C-A8A1-66B43F49DF5F}"/>
              </a:ext>
            </a:extLst>
          </p:cNvPr>
          <p:cNvSpPr/>
          <p:nvPr userDrawn="1"/>
        </p:nvSpPr>
        <p:spPr>
          <a:xfrm>
            <a:off x="697580" y="487133"/>
            <a:ext cx="1495425" cy="200025"/>
          </a:xfrm>
          <a:custGeom>
            <a:avLst/>
            <a:gdLst>
              <a:gd name="connsiteX0" fmla="*/ 1232440 w 1495425"/>
              <a:gd name="connsiteY0" fmla="*/ 178500 h 200025"/>
              <a:gd name="connsiteX1" fmla="*/ 1239870 w 1495425"/>
              <a:gd name="connsiteY1" fmla="*/ 181354 h 200025"/>
              <a:gd name="connsiteX2" fmla="*/ 1242822 w 1495425"/>
              <a:gd name="connsiteY2" fmla="*/ 188727 h 200025"/>
              <a:gd name="connsiteX3" fmla="*/ 1239870 w 1495425"/>
              <a:gd name="connsiteY3" fmla="*/ 196101 h 200025"/>
              <a:gd name="connsiteX4" fmla="*/ 1232440 w 1495425"/>
              <a:gd name="connsiteY4" fmla="*/ 199073 h 200025"/>
              <a:gd name="connsiteX5" fmla="*/ 1225296 w 1495425"/>
              <a:gd name="connsiteY5" fmla="*/ 196101 h 200025"/>
              <a:gd name="connsiteX6" fmla="*/ 1222438 w 1495425"/>
              <a:gd name="connsiteY6" fmla="*/ 188727 h 200025"/>
              <a:gd name="connsiteX7" fmla="*/ 1225296 w 1495425"/>
              <a:gd name="connsiteY7" fmla="*/ 181354 h 200025"/>
              <a:gd name="connsiteX8" fmla="*/ 1232440 w 1495425"/>
              <a:gd name="connsiteY8" fmla="*/ 178500 h 200025"/>
              <a:gd name="connsiteX9" fmla="*/ 561804 w 1495425"/>
              <a:gd name="connsiteY9" fmla="*/ 72895 h 200025"/>
              <a:gd name="connsiteX10" fmla="*/ 531676 w 1495425"/>
              <a:gd name="connsiteY10" fmla="*/ 85268 h 200025"/>
              <a:gd name="connsiteX11" fmla="*/ 516970 w 1495425"/>
              <a:gd name="connsiteY11" fmla="*/ 120825 h 200025"/>
              <a:gd name="connsiteX12" fmla="*/ 599980 w 1495425"/>
              <a:gd name="connsiteY12" fmla="*/ 120825 h 200025"/>
              <a:gd name="connsiteX13" fmla="*/ 589236 w 1495425"/>
              <a:gd name="connsiteY13" fmla="*/ 85449 h 200025"/>
              <a:gd name="connsiteX14" fmla="*/ 561804 w 1495425"/>
              <a:gd name="connsiteY14" fmla="*/ 72895 h 200025"/>
              <a:gd name="connsiteX15" fmla="*/ 346062 w 1495425"/>
              <a:gd name="connsiteY15" fmla="*/ 65284 h 200025"/>
              <a:gd name="connsiteX16" fmla="*/ 357616 w 1495425"/>
              <a:gd name="connsiteY16" fmla="*/ 65284 h 200025"/>
              <a:gd name="connsiteX17" fmla="*/ 357616 w 1495425"/>
              <a:gd name="connsiteY17" fmla="*/ 196814 h 200025"/>
              <a:gd name="connsiteX18" fmla="*/ 346062 w 1495425"/>
              <a:gd name="connsiteY18" fmla="*/ 196814 h 200025"/>
              <a:gd name="connsiteX19" fmla="*/ 1452372 w 1495425"/>
              <a:gd name="connsiteY19" fmla="*/ 62074 h 200025"/>
              <a:gd name="connsiteX20" fmla="*/ 1484376 w 1495425"/>
              <a:gd name="connsiteY20" fmla="*/ 76286 h 200025"/>
              <a:gd name="connsiteX21" fmla="*/ 1495425 w 1495425"/>
              <a:gd name="connsiteY21" fmla="*/ 116777 h 200025"/>
              <a:gd name="connsiteX22" fmla="*/ 1495425 w 1495425"/>
              <a:gd name="connsiteY22" fmla="*/ 196814 h 200025"/>
              <a:gd name="connsiteX23" fmla="*/ 1483900 w 1495425"/>
              <a:gd name="connsiteY23" fmla="*/ 196814 h 200025"/>
              <a:gd name="connsiteX24" fmla="*/ 1483900 w 1495425"/>
              <a:gd name="connsiteY24" fmla="*/ 120225 h 200025"/>
              <a:gd name="connsiteX25" fmla="*/ 1450372 w 1495425"/>
              <a:gd name="connsiteY25" fmla="*/ 72895 h 200025"/>
              <a:gd name="connsiteX26" fmla="*/ 1419606 w 1495425"/>
              <a:gd name="connsiteY26" fmla="*/ 86811 h 200025"/>
              <a:gd name="connsiteX27" fmla="*/ 1407605 w 1495425"/>
              <a:gd name="connsiteY27" fmla="*/ 121301 h 200025"/>
              <a:gd name="connsiteX28" fmla="*/ 1407605 w 1495425"/>
              <a:gd name="connsiteY28" fmla="*/ 196814 h 200025"/>
              <a:gd name="connsiteX29" fmla="*/ 1396079 w 1495425"/>
              <a:gd name="connsiteY29" fmla="*/ 196814 h 200025"/>
              <a:gd name="connsiteX30" fmla="*/ 1396079 w 1495425"/>
              <a:gd name="connsiteY30" fmla="*/ 65284 h 200025"/>
              <a:gd name="connsiteX31" fmla="*/ 1407605 w 1495425"/>
              <a:gd name="connsiteY31" fmla="*/ 65284 h 200025"/>
              <a:gd name="connsiteX32" fmla="*/ 1407605 w 1495425"/>
              <a:gd name="connsiteY32" fmla="*/ 89192 h 200025"/>
              <a:gd name="connsiteX33" fmla="*/ 1408176 w 1495425"/>
              <a:gd name="connsiteY33" fmla="*/ 89192 h 200025"/>
              <a:gd name="connsiteX34" fmla="*/ 1452372 w 1495425"/>
              <a:gd name="connsiteY34" fmla="*/ 62074 h 200025"/>
              <a:gd name="connsiteX35" fmla="*/ 1337215 w 1495425"/>
              <a:gd name="connsiteY35" fmla="*/ 62074 h 200025"/>
              <a:gd name="connsiteX36" fmla="*/ 1365790 w 1495425"/>
              <a:gd name="connsiteY36" fmla="*/ 68256 h 200025"/>
              <a:gd name="connsiteX37" fmla="*/ 1365790 w 1495425"/>
              <a:gd name="connsiteY37" fmla="*/ 81582 h 200025"/>
              <a:gd name="connsiteX38" fmla="*/ 1335405 w 1495425"/>
              <a:gd name="connsiteY38" fmla="*/ 72895 h 200025"/>
              <a:gd name="connsiteX39" fmla="*/ 1298638 w 1495425"/>
              <a:gd name="connsiteY39" fmla="*/ 89545 h 200025"/>
              <a:gd name="connsiteX40" fmla="*/ 1284541 w 1495425"/>
              <a:gd name="connsiteY40" fmla="*/ 132598 h 200025"/>
              <a:gd name="connsiteX41" fmla="*/ 1297400 w 1495425"/>
              <a:gd name="connsiteY41" fmla="*/ 173684 h 200025"/>
              <a:gd name="connsiteX42" fmla="*/ 1331596 w 1495425"/>
              <a:gd name="connsiteY42" fmla="*/ 189203 h 200025"/>
              <a:gd name="connsiteX43" fmla="*/ 1365313 w 1495425"/>
              <a:gd name="connsiteY43" fmla="*/ 178738 h 200025"/>
              <a:gd name="connsiteX44" fmla="*/ 1365313 w 1495425"/>
              <a:gd name="connsiteY44" fmla="*/ 190987 h 200025"/>
              <a:gd name="connsiteX45" fmla="*/ 1331023 w 1495425"/>
              <a:gd name="connsiteY45" fmla="*/ 200025 h 200025"/>
              <a:gd name="connsiteX46" fmla="*/ 1288542 w 1495425"/>
              <a:gd name="connsiteY46" fmla="*/ 181592 h 200025"/>
              <a:gd name="connsiteX47" fmla="*/ 1272349 w 1495425"/>
              <a:gd name="connsiteY47" fmla="*/ 133312 h 200025"/>
              <a:gd name="connsiteX48" fmla="*/ 1290542 w 1495425"/>
              <a:gd name="connsiteY48" fmla="*/ 82058 h 200025"/>
              <a:gd name="connsiteX49" fmla="*/ 1337215 w 1495425"/>
              <a:gd name="connsiteY49" fmla="*/ 62074 h 200025"/>
              <a:gd name="connsiteX50" fmla="*/ 562270 w 1495425"/>
              <a:gd name="connsiteY50" fmla="*/ 62074 h 200025"/>
              <a:gd name="connsiteX51" fmla="*/ 599218 w 1495425"/>
              <a:gd name="connsiteY51" fmla="*/ 79324 h 200025"/>
              <a:gd name="connsiteX52" fmla="*/ 612124 w 1495425"/>
              <a:gd name="connsiteY52" fmla="*/ 126292 h 200025"/>
              <a:gd name="connsiteX53" fmla="*/ 612124 w 1495425"/>
              <a:gd name="connsiteY53" fmla="*/ 131531 h 200025"/>
              <a:gd name="connsiteX54" fmla="*/ 516503 w 1495425"/>
              <a:gd name="connsiteY54" fmla="*/ 131531 h 200025"/>
              <a:gd name="connsiteX55" fmla="*/ 528761 w 1495425"/>
              <a:gd name="connsiteY55" fmla="*/ 173922 h 200025"/>
              <a:gd name="connsiteX56" fmla="*/ 562499 w 1495425"/>
              <a:gd name="connsiteY56" fmla="*/ 189203 h 200025"/>
              <a:gd name="connsiteX57" fmla="*/ 604885 w 1495425"/>
              <a:gd name="connsiteY57" fmla="*/ 172911 h 200025"/>
              <a:gd name="connsiteX58" fmla="*/ 604885 w 1495425"/>
              <a:gd name="connsiteY58" fmla="*/ 185517 h 200025"/>
              <a:gd name="connsiteX59" fmla="*/ 560165 w 1495425"/>
              <a:gd name="connsiteY59" fmla="*/ 200025 h 200025"/>
              <a:gd name="connsiteX60" fmla="*/ 519769 w 1495425"/>
              <a:gd name="connsiteY60" fmla="*/ 181770 h 200025"/>
              <a:gd name="connsiteX61" fmla="*/ 504358 w 1495425"/>
              <a:gd name="connsiteY61" fmla="*/ 130340 h 200025"/>
              <a:gd name="connsiteX62" fmla="*/ 520475 w 1495425"/>
              <a:gd name="connsiteY62" fmla="*/ 81820 h 200025"/>
              <a:gd name="connsiteX63" fmla="*/ 562270 w 1495425"/>
              <a:gd name="connsiteY63" fmla="*/ 62074 h 200025"/>
              <a:gd name="connsiteX64" fmla="*/ 454800 w 1495425"/>
              <a:gd name="connsiteY64" fmla="*/ 62074 h 200025"/>
              <a:gd name="connsiteX65" fmla="*/ 483403 w 1495425"/>
              <a:gd name="connsiteY65" fmla="*/ 68256 h 200025"/>
              <a:gd name="connsiteX66" fmla="*/ 483403 w 1495425"/>
              <a:gd name="connsiteY66" fmla="*/ 81582 h 200025"/>
              <a:gd name="connsiteX67" fmla="*/ 453047 w 1495425"/>
              <a:gd name="connsiteY67" fmla="*/ 72895 h 200025"/>
              <a:gd name="connsiteX68" fmla="*/ 416271 w 1495425"/>
              <a:gd name="connsiteY68" fmla="*/ 89545 h 200025"/>
              <a:gd name="connsiteX69" fmla="*/ 402145 w 1495425"/>
              <a:gd name="connsiteY69" fmla="*/ 132598 h 200025"/>
              <a:gd name="connsiteX70" fmla="*/ 415042 w 1495425"/>
              <a:gd name="connsiteY70" fmla="*/ 173684 h 200025"/>
              <a:gd name="connsiteX71" fmla="*/ 449199 w 1495425"/>
              <a:gd name="connsiteY71" fmla="*/ 189203 h 200025"/>
              <a:gd name="connsiteX72" fmla="*/ 482937 w 1495425"/>
              <a:gd name="connsiteY72" fmla="*/ 178738 h 200025"/>
              <a:gd name="connsiteX73" fmla="*/ 482937 w 1495425"/>
              <a:gd name="connsiteY73" fmla="*/ 190987 h 200025"/>
              <a:gd name="connsiteX74" fmla="*/ 448609 w 1495425"/>
              <a:gd name="connsiteY74" fmla="*/ 200025 h 200025"/>
              <a:gd name="connsiteX75" fmla="*/ 406175 w 1495425"/>
              <a:gd name="connsiteY75" fmla="*/ 181592 h 200025"/>
              <a:gd name="connsiteX76" fmla="*/ 390001 w 1495425"/>
              <a:gd name="connsiteY76" fmla="*/ 133312 h 200025"/>
              <a:gd name="connsiteX77" fmla="*/ 408156 w 1495425"/>
              <a:gd name="connsiteY77" fmla="*/ 82058 h 200025"/>
              <a:gd name="connsiteX78" fmla="*/ 454800 w 1495425"/>
              <a:gd name="connsiteY78" fmla="*/ 62074 h 200025"/>
              <a:gd name="connsiteX79" fmla="*/ 671313 w 1495425"/>
              <a:gd name="connsiteY79" fmla="*/ 30089 h 200025"/>
              <a:gd name="connsiteX80" fmla="*/ 671313 w 1495425"/>
              <a:gd name="connsiteY80" fmla="*/ 102289 h 200025"/>
              <a:gd name="connsiteX81" fmla="*/ 693163 w 1495425"/>
              <a:gd name="connsiteY81" fmla="*/ 102289 h 200025"/>
              <a:gd name="connsiteX82" fmla="*/ 725986 w 1495425"/>
              <a:gd name="connsiteY82" fmla="*/ 92650 h 200025"/>
              <a:gd name="connsiteX83" fmla="*/ 737206 w 1495425"/>
              <a:gd name="connsiteY83" fmla="*/ 65018 h 200025"/>
              <a:gd name="connsiteX84" fmla="*/ 695401 w 1495425"/>
              <a:gd name="connsiteY84" fmla="*/ 30089 h 200025"/>
              <a:gd name="connsiteX85" fmla="*/ 85115 w 1495425"/>
              <a:gd name="connsiteY85" fmla="*/ 21165 h 200025"/>
              <a:gd name="connsiteX86" fmla="*/ 33214 w 1495425"/>
              <a:gd name="connsiteY86" fmla="*/ 44415 h 200025"/>
              <a:gd name="connsiteX87" fmla="*/ 12840 w 1495425"/>
              <a:gd name="connsiteY87" fmla="*/ 105242 h 200025"/>
              <a:gd name="connsiteX88" fmla="*/ 32109 w 1495425"/>
              <a:gd name="connsiteY88" fmla="*/ 165835 h 200025"/>
              <a:gd name="connsiteX89" fmla="*/ 83591 w 1495425"/>
              <a:gd name="connsiteY89" fmla="*/ 188371 h 200025"/>
              <a:gd name="connsiteX90" fmla="*/ 136655 w 1495425"/>
              <a:gd name="connsiteY90" fmla="*/ 166073 h 200025"/>
              <a:gd name="connsiteX91" fmla="*/ 156220 w 1495425"/>
              <a:gd name="connsiteY91" fmla="*/ 103937 h 200025"/>
              <a:gd name="connsiteX92" fmla="*/ 137122 w 1495425"/>
              <a:gd name="connsiteY92" fmla="*/ 43053 h 200025"/>
              <a:gd name="connsiteX93" fmla="*/ 85115 w 1495425"/>
              <a:gd name="connsiteY93" fmla="*/ 21165 h 200025"/>
              <a:gd name="connsiteX94" fmla="*/ 351777 w 1495425"/>
              <a:gd name="connsiteY94" fmla="*/ 12602 h 200025"/>
              <a:gd name="connsiteX95" fmla="*/ 358616 w 1495425"/>
              <a:gd name="connsiteY95" fmla="*/ 15164 h 200025"/>
              <a:gd name="connsiteX96" fmla="*/ 361588 w 1495425"/>
              <a:gd name="connsiteY96" fmla="*/ 22117 h 200025"/>
              <a:gd name="connsiteX97" fmla="*/ 358673 w 1495425"/>
              <a:gd name="connsiteY97" fmla="*/ 29194 h 200025"/>
              <a:gd name="connsiteX98" fmla="*/ 351777 w 1495425"/>
              <a:gd name="connsiteY98" fmla="*/ 32109 h 200025"/>
              <a:gd name="connsiteX99" fmla="*/ 345072 w 1495425"/>
              <a:gd name="connsiteY99" fmla="*/ 29318 h 200025"/>
              <a:gd name="connsiteX100" fmla="*/ 342205 w 1495425"/>
              <a:gd name="connsiteY100" fmla="*/ 22117 h 200025"/>
              <a:gd name="connsiteX101" fmla="*/ 345129 w 1495425"/>
              <a:gd name="connsiteY101" fmla="*/ 15278 h 200025"/>
              <a:gd name="connsiteX102" fmla="*/ 351777 w 1495425"/>
              <a:gd name="connsiteY102" fmla="*/ 12602 h 200025"/>
              <a:gd name="connsiteX103" fmla="*/ 1142048 w 1495425"/>
              <a:gd name="connsiteY103" fmla="*/ 9525 h 200025"/>
              <a:gd name="connsiteX104" fmla="*/ 1182720 w 1495425"/>
              <a:gd name="connsiteY104" fmla="*/ 16192 h 200025"/>
              <a:gd name="connsiteX105" fmla="*/ 1182720 w 1495425"/>
              <a:gd name="connsiteY105" fmla="*/ 42129 h 200025"/>
              <a:gd name="connsiteX106" fmla="*/ 1140237 w 1495425"/>
              <a:gd name="connsiteY106" fmla="*/ 30585 h 200025"/>
              <a:gd name="connsiteX107" fmla="*/ 1112425 w 1495425"/>
              <a:gd name="connsiteY107" fmla="*/ 37662 h 200025"/>
              <a:gd name="connsiteX108" fmla="*/ 1101662 w 1495425"/>
              <a:gd name="connsiteY108" fmla="*/ 57360 h 200025"/>
              <a:gd name="connsiteX109" fmla="*/ 1109090 w 1495425"/>
              <a:gd name="connsiteY109" fmla="*/ 75562 h 200025"/>
              <a:gd name="connsiteX110" fmla="*/ 1141380 w 1495425"/>
              <a:gd name="connsiteY110" fmla="*/ 94717 h 200025"/>
              <a:gd name="connsiteX111" fmla="*/ 1179671 w 1495425"/>
              <a:gd name="connsiteY111" fmla="*/ 120663 h 200025"/>
              <a:gd name="connsiteX112" fmla="*/ 1190625 w 1495425"/>
              <a:gd name="connsiteY112" fmla="*/ 149812 h 200025"/>
              <a:gd name="connsiteX113" fmla="*/ 1172813 w 1495425"/>
              <a:gd name="connsiteY113" fmla="*/ 187056 h 200025"/>
              <a:gd name="connsiteX114" fmla="*/ 1123473 w 1495425"/>
              <a:gd name="connsiteY114" fmla="*/ 200025 h 200025"/>
              <a:gd name="connsiteX115" fmla="*/ 1097756 w 1495425"/>
              <a:gd name="connsiteY115" fmla="*/ 196990 h 200025"/>
              <a:gd name="connsiteX116" fmla="*/ 1076325 w 1495425"/>
              <a:gd name="connsiteY116" fmla="*/ 189435 h 200025"/>
              <a:gd name="connsiteX117" fmla="*/ 1076325 w 1495425"/>
              <a:gd name="connsiteY117" fmla="*/ 162306 h 200025"/>
              <a:gd name="connsiteX118" fmla="*/ 1099185 w 1495425"/>
              <a:gd name="connsiteY118" fmla="*/ 174443 h 200025"/>
              <a:gd name="connsiteX119" fmla="*/ 1126236 w 1495425"/>
              <a:gd name="connsiteY119" fmla="*/ 179202 h 200025"/>
              <a:gd name="connsiteX120" fmla="*/ 1165384 w 1495425"/>
              <a:gd name="connsiteY120" fmla="*/ 151597 h 200025"/>
              <a:gd name="connsiteX121" fmla="*/ 1161193 w 1495425"/>
              <a:gd name="connsiteY121" fmla="*/ 137674 h 200025"/>
              <a:gd name="connsiteX122" fmla="*/ 1149667 w 1495425"/>
              <a:gd name="connsiteY122" fmla="*/ 126730 h 200025"/>
              <a:gd name="connsiteX123" fmla="*/ 1122235 w 1495425"/>
              <a:gd name="connsiteY123" fmla="*/ 112090 h 200025"/>
              <a:gd name="connsiteX124" fmla="*/ 1085373 w 1495425"/>
              <a:gd name="connsiteY124" fmla="*/ 86449 h 200025"/>
              <a:gd name="connsiteX125" fmla="*/ 1076420 w 1495425"/>
              <a:gd name="connsiteY125" fmla="*/ 59379 h 200025"/>
              <a:gd name="connsiteX126" fmla="*/ 1095089 w 1495425"/>
              <a:gd name="connsiteY126" fmla="*/ 22974 h 200025"/>
              <a:gd name="connsiteX127" fmla="*/ 1142048 w 1495425"/>
              <a:gd name="connsiteY127" fmla="*/ 9525 h 200025"/>
              <a:gd name="connsiteX128" fmla="*/ 904875 w 1495425"/>
              <a:gd name="connsiteY128" fmla="*/ 9525 h 200025"/>
              <a:gd name="connsiteX129" fmla="*/ 929354 w 1495425"/>
              <a:gd name="connsiteY129" fmla="*/ 9525 h 200025"/>
              <a:gd name="connsiteX130" fmla="*/ 929354 w 1495425"/>
              <a:gd name="connsiteY130" fmla="*/ 122253 h 200025"/>
              <a:gd name="connsiteX131" fmla="*/ 977075 w 1495425"/>
              <a:gd name="connsiteY131" fmla="*/ 178496 h 200025"/>
              <a:gd name="connsiteX132" fmla="*/ 1023271 w 1495425"/>
              <a:gd name="connsiteY132" fmla="*/ 124063 h 200025"/>
              <a:gd name="connsiteX133" fmla="*/ 1023271 w 1495425"/>
              <a:gd name="connsiteY133" fmla="*/ 9525 h 200025"/>
              <a:gd name="connsiteX134" fmla="*/ 1047750 w 1495425"/>
              <a:gd name="connsiteY134" fmla="*/ 9525 h 200025"/>
              <a:gd name="connsiteX135" fmla="*/ 1047750 w 1495425"/>
              <a:gd name="connsiteY135" fmla="*/ 120558 h 200025"/>
              <a:gd name="connsiteX136" fmla="*/ 974789 w 1495425"/>
              <a:gd name="connsiteY136" fmla="*/ 200025 h 200025"/>
              <a:gd name="connsiteX137" fmla="*/ 904875 w 1495425"/>
              <a:gd name="connsiteY137" fmla="*/ 123339 h 200025"/>
              <a:gd name="connsiteX138" fmla="*/ 790575 w 1495425"/>
              <a:gd name="connsiteY138" fmla="*/ 9525 h 200025"/>
              <a:gd name="connsiteX139" fmla="*/ 813911 w 1495425"/>
              <a:gd name="connsiteY139" fmla="*/ 9525 h 200025"/>
              <a:gd name="connsiteX140" fmla="*/ 813911 w 1495425"/>
              <a:gd name="connsiteY140" fmla="*/ 169820 h 200025"/>
              <a:gd name="connsiteX141" fmla="*/ 885825 w 1495425"/>
              <a:gd name="connsiteY141" fmla="*/ 169820 h 200025"/>
              <a:gd name="connsiteX142" fmla="*/ 885825 w 1495425"/>
              <a:gd name="connsiteY142" fmla="*/ 190500 h 200025"/>
              <a:gd name="connsiteX143" fmla="*/ 790575 w 1495425"/>
              <a:gd name="connsiteY143" fmla="*/ 190500 h 200025"/>
              <a:gd name="connsiteX144" fmla="*/ 647700 w 1495425"/>
              <a:gd name="connsiteY144" fmla="*/ 9525 h 200025"/>
              <a:gd name="connsiteX145" fmla="*/ 699659 w 1495425"/>
              <a:gd name="connsiteY145" fmla="*/ 9525 h 200025"/>
              <a:gd name="connsiteX146" fmla="*/ 745646 w 1495425"/>
              <a:gd name="connsiteY146" fmla="*/ 23660 h 200025"/>
              <a:gd name="connsiteX147" fmla="*/ 762000 w 1495425"/>
              <a:gd name="connsiteY147" fmla="*/ 64084 h 200025"/>
              <a:gd name="connsiteX148" fmla="*/ 742874 w 1495425"/>
              <a:gd name="connsiteY148" fmla="*/ 107252 h 200025"/>
              <a:gd name="connsiteX149" fmla="*/ 695049 w 1495425"/>
              <a:gd name="connsiteY149" fmla="*/ 122853 h 200025"/>
              <a:gd name="connsiteX150" fmla="*/ 671313 w 1495425"/>
              <a:gd name="connsiteY150" fmla="*/ 122853 h 200025"/>
              <a:gd name="connsiteX151" fmla="*/ 671313 w 1495425"/>
              <a:gd name="connsiteY151" fmla="*/ 190500 h 200025"/>
              <a:gd name="connsiteX152" fmla="*/ 647700 w 1495425"/>
              <a:gd name="connsiteY152" fmla="*/ 190500 h 200025"/>
              <a:gd name="connsiteX153" fmla="*/ 87211 w 1495425"/>
              <a:gd name="connsiteY153" fmla="*/ 9515 h 200025"/>
              <a:gd name="connsiteX154" fmla="*/ 146409 w 1495425"/>
              <a:gd name="connsiteY154" fmla="*/ 35023 h 200025"/>
              <a:gd name="connsiteX155" fmla="*/ 169059 w 1495425"/>
              <a:gd name="connsiteY155" fmla="*/ 101917 h 200025"/>
              <a:gd name="connsiteX156" fmla="*/ 145885 w 1495425"/>
              <a:gd name="connsiteY156" fmla="*/ 173803 h 200025"/>
              <a:gd name="connsiteX157" fmla="*/ 83830 w 1495425"/>
              <a:gd name="connsiteY157" fmla="*/ 200025 h 200025"/>
              <a:gd name="connsiteX158" fmla="*/ 22765 w 1495425"/>
              <a:gd name="connsiteY158" fmla="*/ 174100 h 200025"/>
              <a:gd name="connsiteX159" fmla="*/ 0 w 1495425"/>
              <a:gd name="connsiteY159" fmla="*/ 106670 h 200025"/>
              <a:gd name="connsiteX160" fmla="*/ 23356 w 1495425"/>
              <a:gd name="connsiteY160" fmla="*/ 36033 h 200025"/>
              <a:gd name="connsiteX161" fmla="*/ 87211 w 1495425"/>
              <a:gd name="connsiteY161" fmla="*/ 9515 h 200025"/>
              <a:gd name="connsiteX162" fmla="*/ 317440 w 1495425"/>
              <a:gd name="connsiteY162" fmla="*/ 0 h 200025"/>
              <a:gd name="connsiteX163" fmla="*/ 331098 w 1495425"/>
              <a:gd name="connsiteY163" fmla="*/ 2496 h 200025"/>
              <a:gd name="connsiteX164" fmla="*/ 331098 w 1495425"/>
              <a:gd name="connsiteY164" fmla="*/ 14507 h 200025"/>
              <a:gd name="connsiteX165" fmla="*/ 316973 w 1495425"/>
              <a:gd name="connsiteY165" fmla="*/ 10820 h 200025"/>
              <a:gd name="connsiteX166" fmla="*/ 293151 w 1495425"/>
              <a:gd name="connsiteY166" fmla="*/ 43405 h 200025"/>
              <a:gd name="connsiteX167" fmla="*/ 293151 w 1495425"/>
              <a:gd name="connsiteY167" fmla="*/ 65284 h 200025"/>
              <a:gd name="connsiteX168" fmla="*/ 327365 w 1495425"/>
              <a:gd name="connsiteY168" fmla="*/ 65284 h 200025"/>
              <a:gd name="connsiteX169" fmla="*/ 327365 w 1495425"/>
              <a:gd name="connsiteY169" fmla="*/ 76105 h 200025"/>
              <a:gd name="connsiteX170" fmla="*/ 293151 w 1495425"/>
              <a:gd name="connsiteY170" fmla="*/ 76105 h 200025"/>
              <a:gd name="connsiteX171" fmla="*/ 293151 w 1495425"/>
              <a:gd name="connsiteY171" fmla="*/ 196814 h 200025"/>
              <a:gd name="connsiteX172" fmla="*/ 281597 w 1495425"/>
              <a:gd name="connsiteY172" fmla="*/ 196814 h 200025"/>
              <a:gd name="connsiteX173" fmla="*/ 281597 w 1495425"/>
              <a:gd name="connsiteY173" fmla="*/ 76105 h 200025"/>
              <a:gd name="connsiteX174" fmla="*/ 258356 w 1495425"/>
              <a:gd name="connsiteY174" fmla="*/ 76105 h 200025"/>
              <a:gd name="connsiteX175" fmla="*/ 258356 w 1495425"/>
              <a:gd name="connsiteY175" fmla="*/ 65284 h 200025"/>
              <a:gd name="connsiteX176" fmla="*/ 281597 w 1495425"/>
              <a:gd name="connsiteY176" fmla="*/ 65284 h 200025"/>
              <a:gd name="connsiteX177" fmla="*/ 281597 w 1495425"/>
              <a:gd name="connsiteY177" fmla="*/ 42453 h 200025"/>
              <a:gd name="connsiteX178" fmla="*/ 291865 w 1495425"/>
              <a:gd name="connsiteY178" fmla="*/ 10820 h 200025"/>
              <a:gd name="connsiteX179" fmla="*/ 317440 w 1495425"/>
              <a:gd name="connsiteY179" fmla="*/ 0 h 200025"/>
              <a:gd name="connsiteX180" fmla="*/ 245964 w 1495425"/>
              <a:gd name="connsiteY180" fmla="*/ 0 h 200025"/>
              <a:gd name="connsiteX181" fmla="*/ 259623 w 1495425"/>
              <a:gd name="connsiteY181" fmla="*/ 2496 h 200025"/>
              <a:gd name="connsiteX182" fmla="*/ 259623 w 1495425"/>
              <a:gd name="connsiteY182" fmla="*/ 14507 h 200025"/>
              <a:gd name="connsiteX183" fmla="*/ 245497 w 1495425"/>
              <a:gd name="connsiteY183" fmla="*/ 10820 h 200025"/>
              <a:gd name="connsiteX184" fmla="*/ 221675 w 1495425"/>
              <a:gd name="connsiteY184" fmla="*/ 43405 h 200025"/>
              <a:gd name="connsiteX185" fmla="*/ 221675 w 1495425"/>
              <a:gd name="connsiteY185" fmla="*/ 65284 h 200025"/>
              <a:gd name="connsiteX186" fmla="*/ 255889 w 1495425"/>
              <a:gd name="connsiteY186" fmla="*/ 65284 h 200025"/>
              <a:gd name="connsiteX187" fmla="*/ 255889 w 1495425"/>
              <a:gd name="connsiteY187" fmla="*/ 76105 h 200025"/>
              <a:gd name="connsiteX188" fmla="*/ 221675 w 1495425"/>
              <a:gd name="connsiteY188" fmla="*/ 76105 h 200025"/>
              <a:gd name="connsiteX189" fmla="*/ 221675 w 1495425"/>
              <a:gd name="connsiteY189" fmla="*/ 196814 h 200025"/>
              <a:gd name="connsiteX190" fmla="*/ 210121 w 1495425"/>
              <a:gd name="connsiteY190" fmla="*/ 196814 h 200025"/>
              <a:gd name="connsiteX191" fmla="*/ 210121 w 1495425"/>
              <a:gd name="connsiteY191" fmla="*/ 76105 h 200025"/>
              <a:gd name="connsiteX192" fmla="*/ 186890 w 1495425"/>
              <a:gd name="connsiteY192" fmla="*/ 76105 h 200025"/>
              <a:gd name="connsiteX193" fmla="*/ 186890 w 1495425"/>
              <a:gd name="connsiteY193" fmla="*/ 65284 h 200025"/>
              <a:gd name="connsiteX194" fmla="*/ 210121 w 1495425"/>
              <a:gd name="connsiteY194" fmla="*/ 65284 h 200025"/>
              <a:gd name="connsiteX195" fmla="*/ 210121 w 1495425"/>
              <a:gd name="connsiteY195" fmla="*/ 42453 h 200025"/>
              <a:gd name="connsiteX196" fmla="*/ 220389 w 1495425"/>
              <a:gd name="connsiteY196" fmla="*/ 10820 h 200025"/>
              <a:gd name="connsiteX197" fmla="*/ 245964 w 1495425"/>
              <a:gd name="connsiteY197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1495425" h="200025">
                <a:moveTo>
                  <a:pt x="1232440" y="178500"/>
                </a:moveTo>
                <a:cubicBezTo>
                  <a:pt x="1235392" y="178500"/>
                  <a:pt x="1237773" y="179452"/>
                  <a:pt x="1239870" y="181354"/>
                </a:cubicBezTo>
                <a:cubicBezTo>
                  <a:pt x="1241870" y="183257"/>
                  <a:pt x="1242822" y="185715"/>
                  <a:pt x="1242822" y="188727"/>
                </a:cubicBezTo>
                <a:cubicBezTo>
                  <a:pt x="1242822" y="191661"/>
                  <a:pt x="1241870" y="194119"/>
                  <a:pt x="1239870" y="196101"/>
                </a:cubicBezTo>
                <a:cubicBezTo>
                  <a:pt x="1237773" y="198083"/>
                  <a:pt x="1235392" y="199073"/>
                  <a:pt x="1232440" y="199073"/>
                </a:cubicBezTo>
                <a:cubicBezTo>
                  <a:pt x="1229582" y="199073"/>
                  <a:pt x="1227201" y="198083"/>
                  <a:pt x="1225296" y="196101"/>
                </a:cubicBezTo>
                <a:cubicBezTo>
                  <a:pt x="1223391" y="194119"/>
                  <a:pt x="1222438" y="191661"/>
                  <a:pt x="1222438" y="188727"/>
                </a:cubicBezTo>
                <a:cubicBezTo>
                  <a:pt x="1222438" y="185715"/>
                  <a:pt x="1223391" y="183257"/>
                  <a:pt x="1225296" y="181354"/>
                </a:cubicBezTo>
                <a:cubicBezTo>
                  <a:pt x="1227201" y="179452"/>
                  <a:pt x="1229582" y="178500"/>
                  <a:pt x="1232440" y="178500"/>
                </a:cubicBezTo>
                <a:close/>
                <a:moveTo>
                  <a:pt x="561804" y="72895"/>
                </a:moveTo>
                <a:cubicBezTo>
                  <a:pt x="549659" y="72895"/>
                  <a:pt x="539620" y="77019"/>
                  <a:pt x="531676" y="85268"/>
                </a:cubicBezTo>
                <a:cubicBezTo>
                  <a:pt x="523742" y="93507"/>
                  <a:pt x="518836" y="105366"/>
                  <a:pt x="516970" y="120825"/>
                </a:cubicBezTo>
                <a:lnTo>
                  <a:pt x="599980" y="120825"/>
                </a:lnTo>
                <a:cubicBezTo>
                  <a:pt x="599437" y="105604"/>
                  <a:pt x="595856" y="93812"/>
                  <a:pt x="589236" y="85449"/>
                </a:cubicBezTo>
                <a:cubicBezTo>
                  <a:pt x="582626" y="77076"/>
                  <a:pt x="573471" y="72895"/>
                  <a:pt x="561804" y="72895"/>
                </a:cubicBezTo>
                <a:close/>
                <a:moveTo>
                  <a:pt x="346062" y="65284"/>
                </a:moveTo>
                <a:lnTo>
                  <a:pt x="357616" y="65284"/>
                </a:lnTo>
                <a:lnTo>
                  <a:pt x="357616" y="196814"/>
                </a:lnTo>
                <a:lnTo>
                  <a:pt x="346062" y="196814"/>
                </a:lnTo>
                <a:close/>
                <a:moveTo>
                  <a:pt x="1452372" y="62074"/>
                </a:moveTo>
                <a:cubicBezTo>
                  <a:pt x="1466278" y="62074"/>
                  <a:pt x="1476947" y="66818"/>
                  <a:pt x="1484376" y="76286"/>
                </a:cubicBezTo>
                <a:cubicBezTo>
                  <a:pt x="1491710" y="85763"/>
                  <a:pt x="1495425" y="99260"/>
                  <a:pt x="1495425" y="116777"/>
                </a:cubicBezTo>
                <a:lnTo>
                  <a:pt x="1495425" y="196814"/>
                </a:lnTo>
                <a:lnTo>
                  <a:pt x="1483900" y="196814"/>
                </a:lnTo>
                <a:lnTo>
                  <a:pt x="1483900" y="120225"/>
                </a:lnTo>
                <a:cubicBezTo>
                  <a:pt x="1483900" y="88678"/>
                  <a:pt x="1472660" y="72895"/>
                  <a:pt x="1450372" y="72895"/>
                </a:cubicBezTo>
                <a:cubicBezTo>
                  <a:pt x="1437894" y="72895"/>
                  <a:pt x="1427702" y="77533"/>
                  <a:pt x="1419606" y="86811"/>
                </a:cubicBezTo>
                <a:cubicBezTo>
                  <a:pt x="1411605" y="96088"/>
                  <a:pt x="1407605" y="107585"/>
                  <a:pt x="1407605" y="121301"/>
                </a:cubicBezTo>
                <a:lnTo>
                  <a:pt x="1407605" y="196814"/>
                </a:lnTo>
                <a:lnTo>
                  <a:pt x="1396079" y="196814"/>
                </a:lnTo>
                <a:lnTo>
                  <a:pt x="1396079" y="65284"/>
                </a:lnTo>
                <a:lnTo>
                  <a:pt x="1407605" y="65284"/>
                </a:lnTo>
                <a:lnTo>
                  <a:pt x="1407605" y="89192"/>
                </a:lnTo>
                <a:lnTo>
                  <a:pt x="1408176" y="89192"/>
                </a:lnTo>
                <a:cubicBezTo>
                  <a:pt x="1417605" y="71114"/>
                  <a:pt x="1432370" y="62074"/>
                  <a:pt x="1452372" y="62074"/>
                </a:cubicBezTo>
                <a:close/>
                <a:moveTo>
                  <a:pt x="1337215" y="62074"/>
                </a:moveTo>
                <a:cubicBezTo>
                  <a:pt x="1347026" y="62074"/>
                  <a:pt x="1356551" y="64141"/>
                  <a:pt x="1365790" y="68256"/>
                </a:cubicBezTo>
                <a:lnTo>
                  <a:pt x="1365790" y="81582"/>
                </a:lnTo>
                <a:cubicBezTo>
                  <a:pt x="1356551" y="75790"/>
                  <a:pt x="1346454" y="72895"/>
                  <a:pt x="1335405" y="72895"/>
                </a:cubicBezTo>
                <a:cubicBezTo>
                  <a:pt x="1320356" y="72895"/>
                  <a:pt x="1308068" y="78448"/>
                  <a:pt x="1298638" y="89545"/>
                </a:cubicBezTo>
                <a:cubicBezTo>
                  <a:pt x="1289209" y="100651"/>
                  <a:pt x="1284541" y="114995"/>
                  <a:pt x="1284541" y="132598"/>
                </a:cubicBezTo>
                <a:cubicBezTo>
                  <a:pt x="1284541" y="149642"/>
                  <a:pt x="1288828" y="163338"/>
                  <a:pt x="1297400" y="173684"/>
                </a:cubicBezTo>
                <a:cubicBezTo>
                  <a:pt x="1305973" y="184031"/>
                  <a:pt x="1317403" y="189203"/>
                  <a:pt x="1331596" y="189203"/>
                </a:cubicBezTo>
                <a:cubicBezTo>
                  <a:pt x="1344454" y="189203"/>
                  <a:pt x="1355693" y="185715"/>
                  <a:pt x="1365313" y="178738"/>
                </a:cubicBezTo>
                <a:lnTo>
                  <a:pt x="1365313" y="190987"/>
                </a:lnTo>
                <a:cubicBezTo>
                  <a:pt x="1355693" y="197012"/>
                  <a:pt x="1344263" y="200025"/>
                  <a:pt x="1331023" y="200025"/>
                </a:cubicBezTo>
                <a:cubicBezTo>
                  <a:pt x="1313498" y="200025"/>
                  <a:pt x="1299306" y="193880"/>
                  <a:pt x="1288542" y="181592"/>
                </a:cubicBezTo>
                <a:cubicBezTo>
                  <a:pt x="1277779" y="169304"/>
                  <a:pt x="1272349" y="153210"/>
                  <a:pt x="1272349" y="133312"/>
                </a:cubicBezTo>
                <a:cubicBezTo>
                  <a:pt x="1272349" y="112462"/>
                  <a:pt x="1278445" y="95374"/>
                  <a:pt x="1290542" y="82058"/>
                </a:cubicBezTo>
                <a:cubicBezTo>
                  <a:pt x="1302639" y="68732"/>
                  <a:pt x="1318165" y="62074"/>
                  <a:pt x="1337215" y="62074"/>
                </a:cubicBezTo>
                <a:close/>
                <a:moveTo>
                  <a:pt x="562270" y="62074"/>
                </a:moveTo>
                <a:cubicBezTo>
                  <a:pt x="578301" y="62074"/>
                  <a:pt x="590617" y="67828"/>
                  <a:pt x="599218" y="79324"/>
                </a:cubicBezTo>
                <a:cubicBezTo>
                  <a:pt x="607819" y="90811"/>
                  <a:pt x="612124" y="106470"/>
                  <a:pt x="612124" y="126292"/>
                </a:cubicBezTo>
                <a:lnTo>
                  <a:pt x="612124" y="131531"/>
                </a:lnTo>
                <a:lnTo>
                  <a:pt x="516503" y="131531"/>
                </a:lnTo>
                <a:cubicBezTo>
                  <a:pt x="516503" y="149603"/>
                  <a:pt x="520589" y="163734"/>
                  <a:pt x="528761" y="173922"/>
                </a:cubicBezTo>
                <a:cubicBezTo>
                  <a:pt x="536934" y="184110"/>
                  <a:pt x="548183" y="189203"/>
                  <a:pt x="562499" y="189203"/>
                </a:cubicBezTo>
                <a:cubicBezTo>
                  <a:pt x="576977" y="189203"/>
                  <a:pt x="591102" y="183773"/>
                  <a:pt x="604885" y="172911"/>
                </a:cubicBezTo>
                <a:lnTo>
                  <a:pt x="604885" y="185517"/>
                </a:lnTo>
                <a:cubicBezTo>
                  <a:pt x="591493" y="195189"/>
                  <a:pt x="576586" y="200025"/>
                  <a:pt x="560165" y="200025"/>
                </a:cubicBezTo>
                <a:cubicBezTo>
                  <a:pt x="543506" y="200025"/>
                  <a:pt x="530047" y="193940"/>
                  <a:pt x="519769" y="181770"/>
                </a:cubicBezTo>
                <a:cubicBezTo>
                  <a:pt x="509492" y="169601"/>
                  <a:pt x="504358" y="152456"/>
                  <a:pt x="504358" y="130340"/>
                </a:cubicBezTo>
                <a:cubicBezTo>
                  <a:pt x="504358" y="111147"/>
                  <a:pt x="509731" y="94974"/>
                  <a:pt x="520475" y="81820"/>
                </a:cubicBezTo>
                <a:cubicBezTo>
                  <a:pt x="531209" y="68656"/>
                  <a:pt x="545144" y="62074"/>
                  <a:pt x="562270" y="62074"/>
                </a:cubicBezTo>
                <a:close/>
                <a:moveTo>
                  <a:pt x="454800" y="62074"/>
                </a:moveTo>
                <a:cubicBezTo>
                  <a:pt x="464687" y="62074"/>
                  <a:pt x="474221" y="64141"/>
                  <a:pt x="483403" y="68256"/>
                </a:cubicBezTo>
                <a:lnTo>
                  <a:pt x="483403" y="81582"/>
                </a:lnTo>
                <a:cubicBezTo>
                  <a:pt x="474221" y="75790"/>
                  <a:pt x="464096" y="72895"/>
                  <a:pt x="453047" y="72895"/>
                </a:cubicBezTo>
                <a:cubicBezTo>
                  <a:pt x="437950" y="72895"/>
                  <a:pt x="425691" y="78448"/>
                  <a:pt x="416271" y="89545"/>
                </a:cubicBezTo>
                <a:cubicBezTo>
                  <a:pt x="406851" y="100651"/>
                  <a:pt x="402145" y="114995"/>
                  <a:pt x="402145" y="132598"/>
                </a:cubicBezTo>
                <a:cubicBezTo>
                  <a:pt x="402145" y="149642"/>
                  <a:pt x="406441" y="163338"/>
                  <a:pt x="415042" y="173684"/>
                </a:cubicBezTo>
                <a:cubicBezTo>
                  <a:pt x="423643" y="184031"/>
                  <a:pt x="435026" y="189203"/>
                  <a:pt x="449199" y="189203"/>
                </a:cubicBezTo>
                <a:cubicBezTo>
                  <a:pt x="462115" y="189203"/>
                  <a:pt x="473364" y="185715"/>
                  <a:pt x="482937" y="178738"/>
                </a:cubicBezTo>
                <a:lnTo>
                  <a:pt x="482937" y="190987"/>
                </a:lnTo>
                <a:cubicBezTo>
                  <a:pt x="473364" y="197012"/>
                  <a:pt x="461924" y="200025"/>
                  <a:pt x="448609" y="200025"/>
                </a:cubicBezTo>
                <a:cubicBezTo>
                  <a:pt x="431102" y="200025"/>
                  <a:pt x="416947" y="193880"/>
                  <a:pt x="406175" y="181592"/>
                </a:cubicBezTo>
                <a:cubicBezTo>
                  <a:pt x="395392" y="169304"/>
                  <a:pt x="390001" y="153210"/>
                  <a:pt x="390001" y="133312"/>
                </a:cubicBezTo>
                <a:cubicBezTo>
                  <a:pt x="390001" y="112462"/>
                  <a:pt x="396050" y="95374"/>
                  <a:pt x="408156" y="82058"/>
                </a:cubicBezTo>
                <a:cubicBezTo>
                  <a:pt x="420262" y="68732"/>
                  <a:pt x="435807" y="62074"/>
                  <a:pt x="454800" y="62074"/>
                </a:cubicBezTo>
                <a:close/>
                <a:moveTo>
                  <a:pt x="671313" y="30089"/>
                </a:moveTo>
                <a:lnTo>
                  <a:pt x="671313" y="102289"/>
                </a:lnTo>
                <a:lnTo>
                  <a:pt x="693163" y="102289"/>
                </a:lnTo>
                <a:cubicBezTo>
                  <a:pt x="707564" y="102289"/>
                  <a:pt x="718509" y="99079"/>
                  <a:pt x="725986" y="92650"/>
                </a:cubicBezTo>
                <a:cubicBezTo>
                  <a:pt x="733463" y="86230"/>
                  <a:pt x="737206" y="77019"/>
                  <a:pt x="737206" y="65018"/>
                </a:cubicBezTo>
                <a:cubicBezTo>
                  <a:pt x="737206" y="41729"/>
                  <a:pt x="723272" y="30089"/>
                  <a:pt x="695401" y="30089"/>
                </a:cubicBezTo>
                <a:close/>
                <a:moveTo>
                  <a:pt x="85115" y="21165"/>
                </a:moveTo>
                <a:cubicBezTo>
                  <a:pt x="64094" y="21165"/>
                  <a:pt x="46797" y="28918"/>
                  <a:pt x="33214" y="44415"/>
                </a:cubicBezTo>
                <a:cubicBezTo>
                  <a:pt x="19631" y="59912"/>
                  <a:pt x="12840" y="80191"/>
                  <a:pt x="12840" y="105242"/>
                </a:cubicBezTo>
                <a:cubicBezTo>
                  <a:pt x="12840" y="130616"/>
                  <a:pt x="19269" y="150811"/>
                  <a:pt x="32109" y="165835"/>
                </a:cubicBezTo>
                <a:cubicBezTo>
                  <a:pt x="44948" y="180859"/>
                  <a:pt x="62112" y="188371"/>
                  <a:pt x="83591" y="188371"/>
                </a:cubicBezTo>
                <a:cubicBezTo>
                  <a:pt x="105937" y="188371"/>
                  <a:pt x="123625" y="180938"/>
                  <a:pt x="136655" y="166073"/>
                </a:cubicBezTo>
                <a:cubicBezTo>
                  <a:pt x="149695" y="151207"/>
                  <a:pt x="156220" y="130492"/>
                  <a:pt x="156220" y="103937"/>
                </a:cubicBezTo>
                <a:cubicBezTo>
                  <a:pt x="156220" y="77934"/>
                  <a:pt x="149857" y="57636"/>
                  <a:pt x="137122" y="43053"/>
                </a:cubicBezTo>
                <a:cubicBezTo>
                  <a:pt x="124396" y="28461"/>
                  <a:pt x="107061" y="21165"/>
                  <a:pt x="85115" y="21165"/>
                </a:cubicBezTo>
                <a:close/>
                <a:moveTo>
                  <a:pt x="351777" y="12602"/>
                </a:moveTo>
                <a:cubicBezTo>
                  <a:pt x="354349" y="12602"/>
                  <a:pt x="356625" y="13459"/>
                  <a:pt x="358616" y="15164"/>
                </a:cubicBezTo>
                <a:cubicBezTo>
                  <a:pt x="360597" y="16869"/>
                  <a:pt x="361588" y="19183"/>
                  <a:pt x="361588" y="22117"/>
                </a:cubicBezTo>
                <a:cubicBezTo>
                  <a:pt x="361588" y="24898"/>
                  <a:pt x="360616" y="27251"/>
                  <a:pt x="358673" y="29194"/>
                </a:cubicBezTo>
                <a:cubicBezTo>
                  <a:pt x="356721" y="31137"/>
                  <a:pt x="354425" y="32109"/>
                  <a:pt x="351777" y="32109"/>
                </a:cubicBezTo>
                <a:cubicBezTo>
                  <a:pt x="349215" y="32109"/>
                  <a:pt x="346977" y="31175"/>
                  <a:pt x="345072" y="29318"/>
                </a:cubicBezTo>
                <a:cubicBezTo>
                  <a:pt x="343167" y="27451"/>
                  <a:pt x="342205" y="25051"/>
                  <a:pt x="342205" y="22117"/>
                </a:cubicBezTo>
                <a:cubicBezTo>
                  <a:pt x="342205" y="19345"/>
                  <a:pt x="343186" y="17069"/>
                  <a:pt x="345129" y="15278"/>
                </a:cubicBezTo>
                <a:cubicBezTo>
                  <a:pt x="347072" y="13497"/>
                  <a:pt x="349291" y="12602"/>
                  <a:pt x="351777" y="12602"/>
                </a:cubicBezTo>
                <a:close/>
                <a:moveTo>
                  <a:pt x="1142048" y="9525"/>
                </a:moveTo>
                <a:cubicBezTo>
                  <a:pt x="1160526" y="9525"/>
                  <a:pt x="1174052" y="11744"/>
                  <a:pt x="1182720" y="16192"/>
                </a:cubicBezTo>
                <a:lnTo>
                  <a:pt x="1182720" y="42129"/>
                </a:lnTo>
                <a:cubicBezTo>
                  <a:pt x="1171480" y="34433"/>
                  <a:pt x="1157288" y="30585"/>
                  <a:pt x="1140237" y="30585"/>
                </a:cubicBezTo>
                <a:cubicBezTo>
                  <a:pt x="1128808" y="30585"/>
                  <a:pt x="1119569" y="32947"/>
                  <a:pt x="1112425" y="37662"/>
                </a:cubicBezTo>
                <a:cubicBezTo>
                  <a:pt x="1105281" y="42386"/>
                  <a:pt x="1101662" y="48949"/>
                  <a:pt x="1101662" y="57360"/>
                </a:cubicBezTo>
                <a:cubicBezTo>
                  <a:pt x="1101662" y="64818"/>
                  <a:pt x="1104138" y="70885"/>
                  <a:pt x="1109090" y="75562"/>
                </a:cubicBezTo>
                <a:cubicBezTo>
                  <a:pt x="1114044" y="80248"/>
                  <a:pt x="1124807" y="86630"/>
                  <a:pt x="1141380" y="94717"/>
                </a:cubicBezTo>
                <a:cubicBezTo>
                  <a:pt x="1159669" y="103365"/>
                  <a:pt x="1172432" y="112014"/>
                  <a:pt x="1179671" y="120663"/>
                </a:cubicBezTo>
                <a:cubicBezTo>
                  <a:pt x="1187005" y="129302"/>
                  <a:pt x="1190625" y="139027"/>
                  <a:pt x="1190625" y="149812"/>
                </a:cubicBezTo>
                <a:cubicBezTo>
                  <a:pt x="1190625" y="165994"/>
                  <a:pt x="1184720" y="178409"/>
                  <a:pt x="1172813" y="187056"/>
                </a:cubicBezTo>
                <a:cubicBezTo>
                  <a:pt x="1161002" y="195702"/>
                  <a:pt x="1144524" y="200025"/>
                  <a:pt x="1123473" y="200025"/>
                </a:cubicBezTo>
                <a:cubicBezTo>
                  <a:pt x="1116140" y="200025"/>
                  <a:pt x="1107567" y="199013"/>
                  <a:pt x="1097756" y="196990"/>
                </a:cubicBezTo>
                <a:cubicBezTo>
                  <a:pt x="1087945" y="194968"/>
                  <a:pt x="1080801" y="192450"/>
                  <a:pt x="1076325" y="189435"/>
                </a:cubicBezTo>
                <a:lnTo>
                  <a:pt x="1076325" y="162306"/>
                </a:lnTo>
                <a:cubicBezTo>
                  <a:pt x="1082040" y="167224"/>
                  <a:pt x="1089660" y="171269"/>
                  <a:pt x="1099185" y="174443"/>
                </a:cubicBezTo>
                <a:cubicBezTo>
                  <a:pt x="1108710" y="177616"/>
                  <a:pt x="1117663" y="179202"/>
                  <a:pt x="1126236" y="179202"/>
                </a:cubicBezTo>
                <a:cubicBezTo>
                  <a:pt x="1152334" y="179202"/>
                  <a:pt x="1165384" y="170000"/>
                  <a:pt x="1165384" y="151597"/>
                </a:cubicBezTo>
                <a:cubicBezTo>
                  <a:pt x="1165384" y="146440"/>
                  <a:pt x="1164050" y="141799"/>
                  <a:pt x="1161193" y="137674"/>
                </a:cubicBezTo>
                <a:cubicBezTo>
                  <a:pt x="1158430" y="133550"/>
                  <a:pt x="1154525" y="129902"/>
                  <a:pt x="1149667" y="126730"/>
                </a:cubicBezTo>
                <a:cubicBezTo>
                  <a:pt x="1144809" y="123558"/>
                  <a:pt x="1135666" y="118672"/>
                  <a:pt x="1122235" y="112090"/>
                </a:cubicBezTo>
                <a:cubicBezTo>
                  <a:pt x="1103566" y="102889"/>
                  <a:pt x="1091279" y="94345"/>
                  <a:pt x="1085373" y="86449"/>
                </a:cubicBezTo>
                <a:cubicBezTo>
                  <a:pt x="1079372" y="78562"/>
                  <a:pt x="1076420" y="69533"/>
                  <a:pt x="1076420" y="59379"/>
                </a:cubicBezTo>
                <a:cubicBezTo>
                  <a:pt x="1076420" y="44072"/>
                  <a:pt x="1082612" y="31937"/>
                  <a:pt x="1095089" y="22974"/>
                </a:cubicBezTo>
                <a:cubicBezTo>
                  <a:pt x="1107472" y="14011"/>
                  <a:pt x="1123093" y="9525"/>
                  <a:pt x="1142048" y="9525"/>
                </a:cubicBezTo>
                <a:close/>
                <a:moveTo>
                  <a:pt x="904875" y="9525"/>
                </a:moveTo>
                <a:lnTo>
                  <a:pt x="929354" y="9525"/>
                </a:lnTo>
                <a:lnTo>
                  <a:pt x="929354" y="122253"/>
                </a:lnTo>
                <a:cubicBezTo>
                  <a:pt x="929354" y="159748"/>
                  <a:pt x="945261" y="178496"/>
                  <a:pt x="977075" y="178496"/>
                </a:cubicBezTo>
                <a:cubicBezTo>
                  <a:pt x="1007841" y="178496"/>
                  <a:pt x="1023271" y="160352"/>
                  <a:pt x="1023271" y="124063"/>
                </a:cubicBezTo>
                <a:lnTo>
                  <a:pt x="1023271" y="9525"/>
                </a:lnTo>
                <a:lnTo>
                  <a:pt x="1047750" y="9525"/>
                </a:lnTo>
                <a:lnTo>
                  <a:pt x="1047750" y="120558"/>
                </a:lnTo>
                <a:cubicBezTo>
                  <a:pt x="1047750" y="173536"/>
                  <a:pt x="1023461" y="200025"/>
                  <a:pt x="974789" y="200025"/>
                </a:cubicBezTo>
                <a:cubicBezTo>
                  <a:pt x="928211" y="200025"/>
                  <a:pt x="904875" y="174464"/>
                  <a:pt x="904875" y="123339"/>
                </a:cubicBezTo>
                <a:close/>
                <a:moveTo>
                  <a:pt x="790575" y="9525"/>
                </a:moveTo>
                <a:lnTo>
                  <a:pt x="813911" y="9525"/>
                </a:lnTo>
                <a:lnTo>
                  <a:pt x="813911" y="169820"/>
                </a:lnTo>
                <a:lnTo>
                  <a:pt x="885825" y="169820"/>
                </a:lnTo>
                <a:lnTo>
                  <a:pt x="885825" y="190500"/>
                </a:lnTo>
                <a:lnTo>
                  <a:pt x="790575" y="190500"/>
                </a:lnTo>
                <a:close/>
                <a:moveTo>
                  <a:pt x="647700" y="9525"/>
                </a:moveTo>
                <a:lnTo>
                  <a:pt x="699659" y="9525"/>
                </a:lnTo>
                <a:cubicBezTo>
                  <a:pt x="719414" y="9525"/>
                  <a:pt x="734739" y="14240"/>
                  <a:pt x="745646" y="23660"/>
                </a:cubicBezTo>
                <a:cubicBezTo>
                  <a:pt x="756551" y="33090"/>
                  <a:pt x="762000" y="46558"/>
                  <a:pt x="762000" y="64084"/>
                </a:cubicBezTo>
                <a:cubicBezTo>
                  <a:pt x="762000" y="81848"/>
                  <a:pt x="755628" y="96231"/>
                  <a:pt x="742874" y="107252"/>
                </a:cubicBezTo>
                <a:cubicBezTo>
                  <a:pt x="730120" y="118281"/>
                  <a:pt x="714175" y="123473"/>
                  <a:pt x="695049" y="122853"/>
                </a:cubicBezTo>
                <a:lnTo>
                  <a:pt x="671313" y="122853"/>
                </a:lnTo>
                <a:lnTo>
                  <a:pt x="671313" y="190500"/>
                </a:lnTo>
                <a:lnTo>
                  <a:pt x="647700" y="190500"/>
                </a:lnTo>
                <a:close/>
                <a:moveTo>
                  <a:pt x="87211" y="9515"/>
                </a:moveTo>
                <a:cubicBezTo>
                  <a:pt x="111576" y="9515"/>
                  <a:pt x="131312" y="18012"/>
                  <a:pt x="146409" y="35023"/>
                </a:cubicBezTo>
                <a:cubicBezTo>
                  <a:pt x="161506" y="52026"/>
                  <a:pt x="169059" y="74324"/>
                  <a:pt x="169059" y="101917"/>
                </a:cubicBezTo>
                <a:cubicBezTo>
                  <a:pt x="169059" y="132359"/>
                  <a:pt x="161334" y="156321"/>
                  <a:pt x="145885" y="173803"/>
                </a:cubicBezTo>
                <a:cubicBezTo>
                  <a:pt x="130435" y="191284"/>
                  <a:pt x="109747" y="200025"/>
                  <a:pt x="83830" y="200025"/>
                </a:cubicBezTo>
                <a:cubicBezTo>
                  <a:pt x="58302" y="200025"/>
                  <a:pt x="37948" y="191383"/>
                  <a:pt x="22765" y="174100"/>
                </a:cubicBezTo>
                <a:cubicBezTo>
                  <a:pt x="7591" y="156817"/>
                  <a:pt x="0" y="134341"/>
                  <a:pt x="0" y="106670"/>
                </a:cubicBezTo>
                <a:cubicBezTo>
                  <a:pt x="0" y="77257"/>
                  <a:pt x="7782" y="53711"/>
                  <a:pt x="23356" y="36033"/>
                </a:cubicBezTo>
                <a:cubicBezTo>
                  <a:pt x="38919" y="18355"/>
                  <a:pt x="60207" y="9515"/>
                  <a:pt x="87211" y="9515"/>
                </a:cubicBezTo>
                <a:close/>
                <a:moveTo>
                  <a:pt x="317440" y="0"/>
                </a:moveTo>
                <a:cubicBezTo>
                  <a:pt x="322964" y="0"/>
                  <a:pt x="327517" y="829"/>
                  <a:pt x="331098" y="2496"/>
                </a:cubicBezTo>
                <a:lnTo>
                  <a:pt x="331098" y="14507"/>
                </a:lnTo>
                <a:cubicBezTo>
                  <a:pt x="327984" y="12049"/>
                  <a:pt x="323279" y="10820"/>
                  <a:pt x="316973" y="10820"/>
                </a:cubicBezTo>
                <a:cubicBezTo>
                  <a:pt x="301095" y="10820"/>
                  <a:pt x="293151" y="21679"/>
                  <a:pt x="293151" y="43405"/>
                </a:cubicBezTo>
                <a:lnTo>
                  <a:pt x="293151" y="65284"/>
                </a:lnTo>
                <a:lnTo>
                  <a:pt x="327365" y="65284"/>
                </a:lnTo>
                <a:lnTo>
                  <a:pt x="327365" y="76105"/>
                </a:lnTo>
                <a:lnTo>
                  <a:pt x="293151" y="76105"/>
                </a:lnTo>
                <a:lnTo>
                  <a:pt x="293151" y="196814"/>
                </a:lnTo>
                <a:lnTo>
                  <a:pt x="281597" y="196814"/>
                </a:lnTo>
                <a:lnTo>
                  <a:pt x="281597" y="76105"/>
                </a:lnTo>
                <a:lnTo>
                  <a:pt x="258356" y="76105"/>
                </a:lnTo>
                <a:lnTo>
                  <a:pt x="258356" y="65284"/>
                </a:lnTo>
                <a:lnTo>
                  <a:pt x="281597" y="65284"/>
                </a:lnTo>
                <a:lnTo>
                  <a:pt x="281597" y="42453"/>
                </a:lnTo>
                <a:cubicBezTo>
                  <a:pt x="281597" y="28585"/>
                  <a:pt x="285016" y="18040"/>
                  <a:pt x="291865" y="10820"/>
                </a:cubicBezTo>
                <a:cubicBezTo>
                  <a:pt x="298714" y="3610"/>
                  <a:pt x="307238" y="0"/>
                  <a:pt x="317440" y="0"/>
                </a:cubicBezTo>
                <a:close/>
                <a:moveTo>
                  <a:pt x="245964" y="0"/>
                </a:moveTo>
                <a:cubicBezTo>
                  <a:pt x="251489" y="0"/>
                  <a:pt x="256041" y="829"/>
                  <a:pt x="259623" y="2496"/>
                </a:cubicBezTo>
                <a:lnTo>
                  <a:pt x="259623" y="14507"/>
                </a:lnTo>
                <a:cubicBezTo>
                  <a:pt x="256508" y="12049"/>
                  <a:pt x="251803" y="10820"/>
                  <a:pt x="245497" y="10820"/>
                </a:cubicBezTo>
                <a:cubicBezTo>
                  <a:pt x="229619" y="10820"/>
                  <a:pt x="221675" y="21679"/>
                  <a:pt x="221675" y="43405"/>
                </a:cubicBezTo>
                <a:lnTo>
                  <a:pt x="221675" y="65284"/>
                </a:lnTo>
                <a:lnTo>
                  <a:pt x="255889" y="65284"/>
                </a:lnTo>
                <a:lnTo>
                  <a:pt x="255889" y="76105"/>
                </a:lnTo>
                <a:lnTo>
                  <a:pt x="221675" y="76105"/>
                </a:lnTo>
                <a:lnTo>
                  <a:pt x="221675" y="196814"/>
                </a:lnTo>
                <a:lnTo>
                  <a:pt x="210121" y="196814"/>
                </a:lnTo>
                <a:lnTo>
                  <a:pt x="210121" y="76105"/>
                </a:lnTo>
                <a:lnTo>
                  <a:pt x="186890" y="76105"/>
                </a:lnTo>
                <a:lnTo>
                  <a:pt x="186890" y="65284"/>
                </a:lnTo>
                <a:lnTo>
                  <a:pt x="210121" y="65284"/>
                </a:lnTo>
                <a:lnTo>
                  <a:pt x="210121" y="42453"/>
                </a:lnTo>
                <a:cubicBezTo>
                  <a:pt x="210121" y="28585"/>
                  <a:pt x="213541" y="18040"/>
                  <a:pt x="220389" y="10820"/>
                </a:cubicBezTo>
                <a:cubicBezTo>
                  <a:pt x="227247" y="3610"/>
                  <a:pt x="235763" y="0"/>
                  <a:pt x="245964" y="0"/>
                </a:cubicBezTo>
                <a:close/>
              </a:path>
            </a:pathLst>
          </a:custGeom>
          <a:solidFill>
            <a:srgbClr val="404040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68596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595E7D6-CE63-4880-38D3-6DBC725C4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E83CE0F-A4F3-6172-CFAB-3F0AF9C717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659CED-349C-E0DA-33C0-54A4310C0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1D828-D64C-47AE-9E08-C19520F6811A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727B7B2-D23B-10C5-5956-292FB8AC59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1E46E65-D645-76C2-FA04-B9CEC822F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E190A-68EB-4143-809C-3035EC95FE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59026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270565-5840-8FD5-DE08-841F1AC22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3AB8148-C07D-6980-E2BB-F6D0C88A15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13E9747-B572-C0A0-5EF5-FBDC6894F8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1D828-D64C-47AE-9E08-C19520F6811A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4859C69-C3D7-557E-B9A1-9F04E5D71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C56FC0A-95F9-3DA2-54E1-F0323109D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E190A-68EB-4143-809C-3035EC95FE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A235A14-7413-F773-1A29-87DC30DDD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6910530-0A21-D53E-8FAB-0C95C764EE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38C8A56-EBE7-56AA-8ECD-4858E61BBD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F79B346-7D63-CB29-ED47-5D49A42A0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1D828-D64C-47AE-9E08-C19520F6811A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5C29D04-CB26-98CE-B4F5-56E4AD10B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D0C8983-E102-A80A-104C-8AA18500C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E190A-68EB-4143-809C-3035EC95FE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37591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95E1EBD-5257-12C3-50AE-0680EAE53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E7FB729-47B3-44EC-2AE5-6586BA6CCA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1746D98-77F8-BD6D-5394-CDE9D9B37B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A46D4D07-416D-DFCE-94B0-432FCAB958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A69C4CA2-7F9F-20AA-6140-469B539721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F3364E77-0383-AC71-4ADB-C7BFAB8CEB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1D828-D64C-47AE-9E08-C19520F6811A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4D937979-74CF-9F1C-756C-25957F31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AC8E81D3-4083-61E9-11D1-EDA27CFEB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E190A-68EB-4143-809C-3035EC95FE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22856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624EE7F-447B-D577-4B96-0A5F38868A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7A0EF0D-671B-524F-D6FA-C14E3A387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1D828-D64C-47AE-9E08-C19520F6811A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2E775AF-CAE8-FAE0-3C0E-D6B03EDC4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0250CD27-EED2-0802-816D-B0B788CBD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E190A-68EB-4143-809C-3035EC95FE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93381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7FC2BA37-A7AC-63C6-1759-2E2BE4022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1D828-D64C-47AE-9E08-C19520F6811A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30D5E73-81E0-6C9E-1576-C415F187E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264DDDD-F58E-057A-6D7F-4F9D815F4C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E190A-68EB-4143-809C-3035EC95FE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679216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94C41F3-9C8B-A09F-EB64-721E3AA6E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C0748B9-7311-6815-AEBD-25DC6EC6F5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06BE1FBE-DCE8-B089-2AF1-7710145CEF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B519296-0EE1-FBB3-F273-CA62F6068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1D828-D64C-47AE-9E08-C19520F6811A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B7FDE6E-69AB-9CD0-65F0-88607CB3EE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72D3B3B-15E8-CD72-6F72-2A1C014B9F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E190A-68EB-4143-809C-3035EC95FE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76077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5A1047-F0F2-99C6-4FF0-4FAE14DDB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FA5318A2-4721-B315-A90F-E14BAB4D9C6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08B67A52-A452-CEE0-0D1F-4BB8016AFA8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D68722B-05DD-FEAA-F931-1AC7D1407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1D828-D64C-47AE-9E08-C19520F6811A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74E845C4-B2C7-D54C-1A06-C732D739C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85C38A5-0DE9-0BCA-86B1-349480DF37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E190A-68EB-4143-809C-3035EC95FE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3057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3C1AFCCA-E915-60C2-5800-8FFFF90EA7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94F5CFE-F6EB-C96C-2C04-38F86790A1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4E300FC-5FB1-E16D-CEBD-BE593B6D7E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01D828-D64C-47AE-9E08-C19520F6811A}" type="datetimeFigureOut">
              <a:rPr lang="zh-CN" altLang="en-US" smtClean="0"/>
              <a:t>2024/1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A349C1A-6627-7FDC-4134-4C0478D2BB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9F4DEE0-2AD0-AEB3-712A-F16BBFF1D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7E190A-68EB-4143-809C-3035EC95FE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4870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6" r:id="rId14"/>
    <p:sldLayoutId id="2147483667" r:id="rId15"/>
    <p:sldLayoutId id="2147483668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8.png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8D1CB65-F218-4AD3-8485-2B8F4835050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28570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47" imgH="348" progId="TCLayout.ActiveDocument.1">
                  <p:embed/>
                </p:oleObj>
              </mc:Choice>
              <mc:Fallback>
                <p:oleObj name="think-cell Slide" r:id="rId2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8D1CB65-F218-4AD3-8485-2B8F48350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0334B65C-B294-47D3-A9DC-E74A71DFD88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943428" y="3066923"/>
            <a:ext cx="8592458" cy="558799"/>
          </a:xfrm>
        </p:spPr>
        <p:txBody>
          <a:bodyPr/>
          <a:lstStyle/>
          <a:p>
            <a:r>
              <a:rPr lang="zh-CN" altLang="en-US" dirty="0">
                <a:latin typeface="等线" panose="02010600030101010101" pitchFamily="2" charset="-122"/>
                <a:ea typeface="等线" panose="02010600030101010101" pitchFamily="2" charset="-122"/>
              </a:rPr>
              <a:t>原型设计</a:t>
            </a:r>
            <a:endParaRPr lang="en-US" altLang="zh-CN" dirty="0"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943428" y="1855177"/>
            <a:ext cx="8592458" cy="1213337"/>
          </a:xfrm>
        </p:spPr>
        <p:txBody>
          <a:bodyPr/>
          <a:lstStyle/>
          <a:p>
            <a:r>
              <a:rPr lang="zh-CN" altLang="en-US" sz="4000" b="1" dirty="0">
                <a:latin typeface="等线 Light" panose="02010600030101010101" pitchFamily="2" charset="-122"/>
                <a:ea typeface="等线 Light" panose="02010600030101010101" pitchFamily="2" charset="-122"/>
              </a:rPr>
              <a:t>电击小子物业管理系统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>
                <a:latin typeface="等线" panose="02010600030101010101" pitchFamily="2" charset="-122"/>
                <a:ea typeface="等线" panose="02010600030101010101" pitchFamily="2" charset="-122"/>
              </a:rPr>
              <a:t>李铭祺</a:t>
            </a:r>
            <a:endParaRPr lang="en-US" altLang="zh-CN" dirty="0"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latin typeface="等线" panose="02010600030101010101" pitchFamily="2" charset="-122"/>
                <a:ea typeface="等线" panose="02010600030101010101" pitchFamily="2" charset="-122"/>
              </a:rPr>
              <a:t>20204/11/16</a:t>
            </a:r>
            <a:endParaRPr lang="en-US" altLang="en-US" dirty="0"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4BAEE4EA-B9E9-48AE-83DB-A10842005449}"/>
              </a:ext>
            </a:extLst>
          </p:cNvPr>
          <p:cNvGrpSpPr/>
          <p:nvPr/>
        </p:nvGrpSpPr>
        <p:grpSpPr>
          <a:xfrm>
            <a:off x="4913313" y="1423988"/>
            <a:ext cx="6683375" cy="4546601"/>
            <a:chOff x="4913313" y="1423988"/>
            <a:chExt cx="6683375" cy="4546601"/>
          </a:xfrm>
        </p:grpSpPr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045E3D2A-53E8-4A63-9A82-5720CD0EE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5950" y="1570038"/>
              <a:ext cx="3663950" cy="3657600"/>
            </a:xfrm>
            <a:prstGeom prst="ellipse">
              <a:avLst/>
            </a:prstGeom>
            <a:solidFill>
              <a:srgbClr val="0032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C2B65721-6B4E-4CF2-9EF4-B501B64852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5950" y="1570038"/>
              <a:ext cx="3379788" cy="3375025"/>
            </a:xfrm>
            <a:custGeom>
              <a:avLst/>
              <a:gdLst>
                <a:gd name="T0" fmla="*/ 1154 w 2129"/>
                <a:gd name="T1" fmla="*/ 0 h 2129"/>
                <a:gd name="T2" fmla="*/ 0 w 2129"/>
                <a:gd name="T3" fmla="*/ 1154 h 2129"/>
                <a:gd name="T4" fmla="*/ 253 w 2129"/>
                <a:gd name="T5" fmla="*/ 1876 h 2129"/>
                <a:gd name="T6" fmla="*/ 975 w 2129"/>
                <a:gd name="T7" fmla="*/ 2129 h 2129"/>
                <a:gd name="T8" fmla="*/ 2129 w 2129"/>
                <a:gd name="T9" fmla="*/ 975 h 2129"/>
                <a:gd name="T10" fmla="*/ 1876 w 2129"/>
                <a:gd name="T11" fmla="*/ 253 h 2129"/>
                <a:gd name="T12" fmla="*/ 1154 w 2129"/>
                <a:gd name="T13" fmla="*/ 0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29" h="2129">
                  <a:moveTo>
                    <a:pt x="1154" y="0"/>
                  </a:moveTo>
                  <a:cubicBezTo>
                    <a:pt x="516" y="0"/>
                    <a:pt x="0" y="517"/>
                    <a:pt x="0" y="1154"/>
                  </a:cubicBezTo>
                  <a:cubicBezTo>
                    <a:pt x="0" y="1427"/>
                    <a:pt x="95" y="1678"/>
                    <a:pt x="253" y="1876"/>
                  </a:cubicBezTo>
                  <a:cubicBezTo>
                    <a:pt x="451" y="2035"/>
                    <a:pt x="702" y="2129"/>
                    <a:pt x="975" y="2129"/>
                  </a:cubicBezTo>
                  <a:cubicBezTo>
                    <a:pt x="1612" y="2129"/>
                    <a:pt x="2129" y="1613"/>
                    <a:pt x="2129" y="975"/>
                  </a:cubicBezTo>
                  <a:cubicBezTo>
                    <a:pt x="2129" y="702"/>
                    <a:pt x="2034" y="451"/>
                    <a:pt x="1876" y="253"/>
                  </a:cubicBezTo>
                  <a:cubicBezTo>
                    <a:pt x="1678" y="95"/>
                    <a:pt x="1427" y="0"/>
                    <a:pt x="1154" y="0"/>
                  </a:cubicBezTo>
                </a:path>
              </a:pathLst>
            </a:custGeom>
            <a:solidFill>
              <a:srgbClr val="0037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E3864F92-B0E9-4040-A8B2-793317A15D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02350" y="4630738"/>
              <a:ext cx="149225" cy="149225"/>
            </a:xfrm>
            <a:prstGeom prst="ellipse">
              <a:avLst/>
            </a:prstGeom>
            <a:solidFill>
              <a:srgbClr val="0037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FC11BD18-AC9A-454D-B7D8-3AC6D6E843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183688" y="5670551"/>
              <a:ext cx="300038" cy="300038"/>
            </a:xfrm>
            <a:prstGeom prst="ellipse">
              <a:avLst/>
            </a:prstGeom>
            <a:solidFill>
              <a:srgbClr val="0037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7715F930-12A8-4073-BB3D-AE34DFA4D6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31588" y="5162551"/>
              <a:ext cx="114300" cy="114300"/>
            </a:xfrm>
            <a:prstGeom prst="ellipse">
              <a:avLst/>
            </a:prstGeom>
            <a:solidFill>
              <a:srgbClr val="0037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9DC9C06C-40DC-470D-9AF6-383D5F2E60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000875" y="2457451"/>
              <a:ext cx="57150" cy="58738"/>
            </a:xfrm>
            <a:prstGeom prst="ellipse">
              <a:avLst/>
            </a:prstGeom>
            <a:solidFill>
              <a:srgbClr val="0050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615412BE-AC25-45E1-B2F7-D1A23BC4575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14963" y="2541588"/>
              <a:ext cx="57150" cy="57150"/>
            </a:xfrm>
            <a:prstGeom prst="ellipse">
              <a:avLst/>
            </a:prstGeom>
            <a:solidFill>
              <a:srgbClr val="0050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160B5BEC-D224-4D11-BECB-F57742A2422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58575" y="3530601"/>
              <a:ext cx="57150" cy="58738"/>
            </a:xfrm>
            <a:prstGeom prst="ellipse">
              <a:avLst/>
            </a:prstGeom>
            <a:solidFill>
              <a:srgbClr val="0050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5C0E4910-2202-409F-8C37-954D67898E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39538" y="1423988"/>
              <a:ext cx="57150" cy="57150"/>
            </a:xfrm>
            <a:prstGeom prst="ellipse">
              <a:avLst/>
            </a:prstGeom>
            <a:solidFill>
              <a:srgbClr val="0050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AB248E3E-81EF-4961-BA70-B2BFD18EFA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13313" y="5316538"/>
              <a:ext cx="57150" cy="57150"/>
            </a:xfrm>
            <a:prstGeom prst="ellipse">
              <a:avLst/>
            </a:prstGeom>
            <a:solidFill>
              <a:srgbClr val="0050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58FD2F4D-9203-4ECD-B611-D9F353D8AF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18800" y="2493963"/>
              <a:ext cx="57150" cy="57150"/>
            </a:xfrm>
            <a:prstGeom prst="ellipse">
              <a:avLst/>
            </a:prstGeom>
            <a:solidFill>
              <a:srgbClr val="0050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E169744E-98CB-4F94-814E-6A8F01AFEA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70925" y="3716338"/>
              <a:ext cx="4763" cy="3175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2 h 2"/>
                <a:gd name="T4" fmla="*/ 0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1" y="1"/>
                    <a:pt x="2" y="2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</a:path>
              </a:pathLst>
            </a:custGeom>
            <a:solidFill>
              <a:srgbClr val="002A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8DEF6A44-C543-46D5-B754-509B67A3459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793163" y="1570038"/>
              <a:ext cx="9525" cy="0"/>
            </a:xfrm>
            <a:custGeom>
              <a:avLst/>
              <a:gdLst>
                <a:gd name="T0" fmla="*/ 5 w 6"/>
                <a:gd name="T1" fmla="*/ 5 w 6"/>
                <a:gd name="T2" fmla="*/ 6 w 6"/>
                <a:gd name="T3" fmla="*/ 5 w 6"/>
                <a:gd name="T4" fmla="*/ 1 w 6"/>
                <a:gd name="T5" fmla="*/ 0 w 6"/>
                <a:gd name="T6" fmla="*/ 1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001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629ADEC-EA96-448F-86A9-C61D0BB5E8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01100" y="15700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26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AB4C2D5A-2C12-454B-B0A8-DC61A47A8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786813" y="1570038"/>
              <a:ext cx="23813" cy="0"/>
            </a:xfrm>
            <a:custGeom>
              <a:avLst/>
              <a:gdLst>
                <a:gd name="T0" fmla="*/ 15 w 15"/>
                <a:gd name="T1" fmla="*/ 15 w 15"/>
                <a:gd name="T2" fmla="*/ 15 w 15"/>
                <a:gd name="T3" fmla="*/ 1 w 15"/>
                <a:gd name="T4" fmla="*/ 0 w 15"/>
                <a:gd name="T5" fmla="*/ 1 w 15"/>
                <a:gd name="T6" fmla="*/ 12 w 15"/>
                <a:gd name="T7" fmla="*/ 12 w 15"/>
                <a:gd name="T8" fmla="*/ 12 w 15"/>
                <a:gd name="T9" fmla="*/ 3 w 15"/>
                <a:gd name="T10" fmla="*/ 2 w 15"/>
                <a:gd name="T11" fmla="*/ 3 w 1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</a:cxnLst>
              <a:rect l="0" t="0" r="r" b="b"/>
              <a:pathLst>
                <a:path w="15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3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</a:path>
              </a:pathLst>
            </a:custGeom>
            <a:solidFill>
              <a:srgbClr val="001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28DDA9E1-3E22-40BD-9D4E-DBFF7105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09038" y="1570038"/>
              <a:ext cx="1588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1 w 1"/>
                <a:gd name="T4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26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C52A4A38-7586-4F28-B7BB-466F8DAA00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774113" y="1570038"/>
              <a:ext cx="39688" cy="0"/>
            </a:xfrm>
            <a:custGeom>
              <a:avLst/>
              <a:gdLst>
                <a:gd name="T0" fmla="*/ 0 w 25"/>
                <a:gd name="T1" fmla="*/ 0 w 25"/>
                <a:gd name="T2" fmla="*/ 0 w 25"/>
                <a:gd name="T3" fmla="*/ 3 w 25"/>
                <a:gd name="T4" fmla="*/ 2 w 25"/>
                <a:gd name="T5" fmla="*/ 3 w 25"/>
                <a:gd name="T6" fmla="*/ 5 w 25"/>
                <a:gd name="T7" fmla="*/ 4 w 25"/>
                <a:gd name="T8" fmla="*/ 5 w 25"/>
                <a:gd name="T9" fmla="*/ 25 w 25"/>
                <a:gd name="T10" fmla="*/ 25 w 25"/>
                <a:gd name="T11" fmla="*/ 25 w 25"/>
                <a:gd name="T12" fmla="*/ 7 w 25"/>
                <a:gd name="T13" fmla="*/ 6 w 25"/>
                <a:gd name="T14" fmla="*/ 7 w 2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</a:cxnLst>
              <a:rect l="0" t="0" r="r" b="b"/>
              <a:pathLst>
                <a:path w="2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3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moveTo>
                    <a:pt x="5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7" y="0"/>
                    <a:pt x="7" y="0"/>
                  </a:cubicBezTo>
                </a:path>
              </a:pathLst>
            </a:custGeom>
            <a:solidFill>
              <a:srgbClr val="001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1FC8836-3C11-4D0B-AB56-B2324E2CEE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755063" y="1570038"/>
              <a:ext cx="12700" cy="0"/>
            </a:xfrm>
            <a:custGeom>
              <a:avLst/>
              <a:gdLst>
                <a:gd name="T0" fmla="*/ 0 w 8"/>
                <a:gd name="T1" fmla="*/ 0 w 8"/>
                <a:gd name="T2" fmla="*/ 0 w 8"/>
                <a:gd name="T3" fmla="*/ 2 w 8"/>
                <a:gd name="T4" fmla="*/ 2 w 8"/>
                <a:gd name="T5" fmla="*/ 2 w 8"/>
                <a:gd name="T6" fmla="*/ 4 w 8"/>
                <a:gd name="T7" fmla="*/ 3 w 8"/>
                <a:gd name="T8" fmla="*/ 4 w 8"/>
                <a:gd name="T9" fmla="*/ 6 w 8"/>
                <a:gd name="T10" fmla="*/ 6 w 8"/>
                <a:gd name="T11" fmla="*/ 6 w 8"/>
                <a:gd name="T12" fmla="*/ 8 w 8"/>
                <a:gd name="T13" fmla="*/ 8 w 8"/>
                <a:gd name="T14" fmla="*/ 8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</a:cxnLst>
              <a:rect l="0" t="0" r="r" b="b"/>
              <a:pathLst>
                <a:path w="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001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EC53260-2099-4259-A739-D3F03B4097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4100" y="1971676"/>
              <a:ext cx="201613" cy="188913"/>
            </a:xfrm>
            <a:custGeom>
              <a:avLst/>
              <a:gdLst>
                <a:gd name="T0" fmla="*/ 0 w 127"/>
                <a:gd name="T1" fmla="*/ 0 h 119"/>
                <a:gd name="T2" fmla="*/ 84 w 127"/>
                <a:gd name="T3" fmla="*/ 119 h 119"/>
                <a:gd name="T4" fmla="*/ 127 w 127"/>
                <a:gd name="T5" fmla="*/ 118 h 119"/>
                <a:gd name="T6" fmla="*/ 0 w 127"/>
                <a:gd name="T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119">
                  <a:moveTo>
                    <a:pt x="0" y="0"/>
                  </a:moveTo>
                  <a:cubicBezTo>
                    <a:pt x="30" y="38"/>
                    <a:pt x="58" y="78"/>
                    <a:pt x="84" y="119"/>
                  </a:cubicBezTo>
                  <a:cubicBezTo>
                    <a:pt x="97" y="118"/>
                    <a:pt x="111" y="118"/>
                    <a:pt x="127" y="118"/>
                  </a:cubicBezTo>
                  <a:cubicBezTo>
                    <a:pt x="87" y="75"/>
                    <a:pt x="45" y="36"/>
                    <a:pt x="0" y="0"/>
                  </a:cubicBezTo>
                </a:path>
              </a:pathLst>
            </a:custGeom>
            <a:solidFill>
              <a:srgbClr val="0026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156DCBFE-F792-424D-8544-BC0867CBB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24725" y="1570038"/>
              <a:ext cx="2752725" cy="2146300"/>
            </a:xfrm>
            <a:custGeom>
              <a:avLst/>
              <a:gdLst>
                <a:gd name="T0" fmla="*/ 925 w 1734"/>
                <a:gd name="T1" fmla="*/ 0 h 1354"/>
                <a:gd name="T2" fmla="*/ 921 w 1734"/>
                <a:gd name="T3" fmla="*/ 0 h 1354"/>
                <a:gd name="T4" fmla="*/ 917 w 1734"/>
                <a:gd name="T5" fmla="*/ 0 h 1354"/>
                <a:gd name="T6" fmla="*/ 913 w 1734"/>
                <a:gd name="T7" fmla="*/ 0 h 1354"/>
                <a:gd name="T8" fmla="*/ 907 w 1734"/>
                <a:gd name="T9" fmla="*/ 0 h 1354"/>
                <a:gd name="T10" fmla="*/ 903 w 1734"/>
                <a:gd name="T11" fmla="*/ 0 h 1354"/>
                <a:gd name="T12" fmla="*/ 648 w 1734"/>
                <a:gd name="T13" fmla="*/ 85 h 1354"/>
                <a:gd name="T14" fmla="*/ 760 w 1734"/>
                <a:gd name="T15" fmla="*/ 53 h 1354"/>
                <a:gd name="T16" fmla="*/ 727 w 1734"/>
                <a:gd name="T17" fmla="*/ 123 h 1354"/>
                <a:gd name="T18" fmla="*/ 656 w 1734"/>
                <a:gd name="T19" fmla="*/ 204 h 1354"/>
                <a:gd name="T20" fmla="*/ 568 w 1734"/>
                <a:gd name="T21" fmla="*/ 172 h 1354"/>
                <a:gd name="T22" fmla="*/ 568 w 1734"/>
                <a:gd name="T23" fmla="*/ 207 h 1354"/>
                <a:gd name="T24" fmla="*/ 361 w 1734"/>
                <a:gd name="T25" fmla="*/ 188 h 1354"/>
                <a:gd name="T26" fmla="*/ 529 w 1734"/>
                <a:gd name="T27" fmla="*/ 140 h 1354"/>
                <a:gd name="T28" fmla="*/ 41 w 1734"/>
                <a:gd name="T29" fmla="*/ 500 h 1354"/>
                <a:gd name="T30" fmla="*/ 121 w 1734"/>
                <a:gd name="T31" fmla="*/ 692 h 1354"/>
                <a:gd name="T32" fmla="*/ 233 w 1734"/>
                <a:gd name="T33" fmla="*/ 939 h 1354"/>
                <a:gd name="T34" fmla="*/ 273 w 1734"/>
                <a:gd name="T35" fmla="*/ 971 h 1354"/>
                <a:gd name="T36" fmla="*/ 489 w 1734"/>
                <a:gd name="T37" fmla="*/ 1179 h 1354"/>
                <a:gd name="T38" fmla="*/ 615 w 1734"/>
                <a:gd name="T39" fmla="*/ 1213 h 1354"/>
                <a:gd name="T40" fmla="*/ 736 w 1734"/>
                <a:gd name="T41" fmla="*/ 1267 h 1354"/>
                <a:gd name="T42" fmla="*/ 837 w 1734"/>
                <a:gd name="T43" fmla="*/ 1276 h 1354"/>
                <a:gd name="T44" fmla="*/ 752 w 1734"/>
                <a:gd name="T45" fmla="*/ 1227 h 1354"/>
                <a:gd name="T46" fmla="*/ 592 w 1734"/>
                <a:gd name="T47" fmla="*/ 1163 h 1354"/>
                <a:gd name="T48" fmla="*/ 906 w 1734"/>
                <a:gd name="T49" fmla="*/ 1076 h 1354"/>
                <a:gd name="T50" fmla="*/ 944 w 1734"/>
                <a:gd name="T51" fmla="*/ 947 h 1354"/>
                <a:gd name="T52" fmla="*/ 1040 w 1734"/>
                <a:gd name="T53" fmla="*/ 803 h 1354"/>
                <a:gd name="T54" fmla="*/ 1199 w 1734"/>
                <a:gd name="T55" fmla="*/ 692 h 1354"/>
                <a:gd name="T56" fmla="*/ 1263 w 1734"/>
                <a:gd name="T57" fmla="*/ 684 h 1354"/>
                <a:gd name="T58" fmla="*/ 1359 w 1734"/>
                <a:gd name="T59" fmla="*/ 612 h 1354"/>
                <a:gd name="T60" fmla="*/ 1239 w 1734"/>
                <a:gd name="T61" fmla="*/ 684 h 1354"/>
                <a:gd name="T62" fmla="*/ 1183 w 1734"/>
                <a:gd name="T63" fmla="*/ 628 h 1354"/>
                <a:gd name="T64" fmla="*/ 1192 w 1734"/>
                <a:gd name="T65" fmla="*/ 606 h 1354"/>
                <a:gd name="T66" fmla="*/ 1271 w 1734"/>
                <a:gd name="T67" fmla="*/ 500 h 1354"/>
                <a:gd name="T68" fmla="*/ 1136 w 1734"/>
                <a:gd name="T69" fmla="*/ 428 h 1354"/>
                <a:gd name="T70" fmla="*/ 944 w 1734"/>
                <a:gd name="T71" fmla="*/ 340 h 1354"/>
                <a:gd name="T72" fmla="*/ 920 w 1734"/>
                <a:gd name="T73" fmla="*/ 572 h 1354"/>
                <a:gd name="T74" fmla="*/ 776 w 1734"/>
                <a:gd name="T75" fmla="*/ 484 h 1354"/>
                <a:gd name="T76" fmla="*/ 784 w 1734"/>
                <a:gd name="T77" fmla="*/ 244 h 1354"/>
                <a:gd name="T78" fmla="*/ 936 w 1734"/>
                <a:gd name="T79" fmla="*/ 140 h 1354"/>
                <a:gd name="T80" fmla="*/ 944 w 1734"/>
                <a:gd name="T81" fmla="*/ 276 h 1354"/>
                <a:gd name="T82" fmla="*/ 1107 w 1734"/>
                <a:gd name="T83" fmla="*/ 295 h 1354"/>
                <a:gd name="T84" fmla="*/ 1112 w 1734"/>
                <a:gd name="T85" fmla="*/ 228 h 1354"/>
                <a:gd name="T86" fmla="*/ 1199 w 1734"/>
                <a:gd name="T87" fmla="*/ 228 h 1354"/>
                <a:gd name="T88" fmla="*/ 1303 w 1734"/>
                <a:gd name="T89" fmla="*/ 276 h 1354"/>
                <a:gd name="T90" fmla="*/ 1289 w 1734"/>
                <a:gd name="T91" fmla="*/ 307 h 1354"/>
                <a:gd name="T92" fmla="*/ 1311 w 1734"/>
                <a:gd name="T93" fmla="*/ 404 h 1354"/>
                <a:gd name="T94" fmla="*/ 1559 w 1734"/>
                <a:gd name="T95" fmla="*/ 436 h 1354"/>
                <a:gd name="T96" fmla="*/ 1650 w 1734"/>
                <a:gd name="T97" fmla="*/ 254 h 1354"/>
                <a:gd name="T98" fmla="*/ 1077 w 1734"/>
                <a:gd name="T99" fmla="*/ 90 h 1354"/>
                <a:gd name="T100" fmla="*/ 943 w 1734"/>
                <a:gd name="T101" fmla="*/ 0 h 1354"/>
                <a:gd name="T102" fmla="*/ 936 w 1734"/>
                <a:gd name="T103" fmla="*/ 0 h 1354"/>
                <a:gd name="T104" fmla="*/ 931 w 1734"/>
                <a:gd name="T105" fmla="*/ 0 h 1354"/>
                <a:gd name="T106" fmla="*/ 928 w 1734"/>
                <a:gd name="T107" fmla="*/ 0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34" h="1354">
                  <a:moveTo>
                    <a:pt x="928" y="0"/>
                  </a:moveTo>
                  <a:cubicBezTo>
                    <a:pt x="928" y="0"/>
                    <a:pt x="928" y="0"/>
                    <a:pt x="928" y="0"/>
                  </a:cubicBezTo>
                  <a:cubicBezTo>
                    <a:pt x="927" y="0"/>
                    <a:pt x="927" y="0"/>
                    <a:pt x="926" y="0"/>
                  </a:cubicBezTo>
                  <a:cubicBezTo>
                    <a:pt x="926" y="0"/>
                    <a:pt x="926" y="0"/>
                    <a:pt x="925" y="0"/>
                  </a:cubicBezTo>
                  <a:cubicBezTo>
                    <a:pt x="925" y="0"/>
                    <a:pt x="924" y="0"/>
                    <a:pt x="924" y="0"/>
                  </a:cubicBezTo>
                  <a:cubicBezTo>
                    <a:pt x="924" y="0"/>
                    <a:pt x="923" y="0"/>
                    <a:pt x="923" y="0"/>
                  </a:cubicBezTo>
                  <a:cubicBezTo>
                    <a:pt x="923" y="0"/>
                    <a:pt x="922" y="0"/>
                    <a:pt x="922" y="0"/>
                  </a:cubicBezTo>
                  <a:cubicBezTo>
                    <a:pt x="922" y="0"/>
                    <a:pt x="921" y="0"/>
                    <a:pt x="921" y="0"/>
                  </a:cubicBezTo>
                  <a:cubicBezTo>
                    <a:pt x="921" y="0"/>
                    <a:pt x="920" y="0"/>
                    <a:pt x="920" y="0"/>
                  </a:cubicBezTo>
                  <a:cubicBezTo>
                    <a:pt x="920" y="0"/>
                    <a:pt x="919" y="0"/>
                    <a:pt x="919" y="0"/>
                  </a:cubicBezTo>
                  <a:cubicBezTo>
                    <a:pt x="919" y="0"/>
                    <a:pt x="918" y="0"/>
                    <a:pt x="918" y="0"/>
                  </a:cubicBezTo>
                  <a:cubicBezTo>
                    <a:pt x="918" y="0"/>
                    <a:pt x="917" y="0"/>
                    <a:pt x="917" y="0"/>
                  </a:cubicBezTo>
                  <a:cubicBezTo>
                    <a:pt x="917" y="0"/>
                    <a:pt x="916" y="0"/>
                    <a:pt x="916" y="0"/>
                  </a:cubicBezTo>
                  <a:cubicBezTo>
                    <a:pt x="916" y="0"/>
                    <a:pt x="915" y="0"/>
                    <a:pt x="915" y="0"/>
                  </a:cubicBezTo>
                  <a:cubicBezTo>
                    <a:pt x="915" y="0"/>
                    <a:pt x="914" y="0"/>
                    <a:pt x="913" y="0"/>
                  </a:cubicBezTo>
                  <a:cubicBezTo>
                    <a:pt x="913" y="0"/>
                    <a:pt x="913" y="0"/>
                    <a:pt x="913" y="0"/>
                  </a:cubicBezTo>
                  <a:cubicBezTo>
                    <a:pt x="912" y="0"/>
                    <a:pt x="910" y="0"/>
                    <a:pt x="909" y="0"/>
                  </a:cubicBezTo>
                  <a:cubicBezTo>
                    <a:pt x="909" y="0"/>
                    <a:pt x="909" y="0"/>
                    <a:pt x="909" y="0"/>
                  </a:cubicBezTo>
                  <a:cubicBezTo>
                    <a:pt x="908" y="0"/>
                    <a:pt x="908" y="0"/>
                    <a:pt x="907" y="0"/>
                  </a:cubicBezTo>
                  <a:cubicBezTo>
                    <a:pt x="907" y="0"/>
                    <a:pt x="907" y="0"/>
                    <a:pt x="907" y="0"/>
                  </a:cubicBezTo>
                  <a:cubicBezTo>
                    <a:pt x="906" y="0"/>
                    <a:pt x="906" y="0"/>
                    <a:pt x="905" y="0"/>
                  </a:cubicBezTo>
                  <a:cubicBezTo>
                    <a:pt x="905" y="0"/>
                    <a:pt x="905" y="0"/>
                    <a:pt x="904" y="0"/>
                  </a:cubicBezTo>
                  <a:cubicBezTo>
                    <a:pt x="904" y="0"/>
                    <a:pt x="903" y="0"/>
                    <a:pt x="903" y="0"/>
                  </a:cubicBezTo>
                  <a:cubicBezTo>
                    <a:pt x="903" y="0"/>
                    <a:pt x="903" y="0"/>
                    <a:pt x="903" y="0"/>
                  </a:cubicBezTo>
                  <a:cubicBezTo>
                    <a:pt x="902" y="0"/>
                    <a:pt x="901" y="0"/>
                    <a:pt x="901" y="0"/>
                  </a:cubicBezTo>
                  <a:cubicBezTo>
                    <a:pt x="901" y="0"/>
                    <a:pt x="901" y="0"/>
                    <a:pt x="901" y="0"/>
                  </a:cubicBezTo>
                  <a:cubicBezTo>
                    <a:pt x="820" y="2"/>
                    <a:pt x="742" y="12"/>
                    <a:pt x="666" y="30"/>
                  </a:cubicBezTo>
                  <a:cubicBezTo>
                    <a:pt x="649" y="43"/>
                    <a:pt x="630" y="66"/>
                    <a:pt x="648" y="85"/>
                  </a:cubicBezTo>
                  <a:cubicBezTo>
                    <a:pt x="653" y="88"/>
                    <a:pt x="657" y="89"/>
                    <a:pt x="662" y="89"/>
                  </a:cubicBezTo>
                  <a:cubicBezTo>
                    <a:pt x="679" y="89"/>
                    <a:pt x="693" y="67"/>
                    <a:pt x="712" y="61"/>
                  </a:cubicBezTo>
                  <a:cubicBezTo>
                    <a:pt x="760" y="45"/>
                    <a:pt x="824" y="37"/>
                    <a:pt x="872" y="29"/>
                  </a:cubicBezTo>
                  <a:cubicBezTo>
                    <a:pt x="856" y="53"/>
                    <a:pt x="784" y="45"/>
                    <a:pt x="760" y="53"/>
                  </a:cubicBezTo>
                  <a:cubicBezTo>
                    <a:pt x="728" y="61"/>
                    <a:pt x="744" y="69"/>
                    <a:pt x="720" y="109"/>
                  </a:cubicBezTo>
                  <a:cubicBezTo>
                    <a:pt x="728" y="109"/>
                    <a:pt x="744" y="117"/>
                    <a:pt x="752" y="117"/>
                  </a:cubicBezTo>
                  <a:cubicBezTo>
                    <a:pt x="752" y="125"/>
                    <a:pt x="752" y="125"/>
                    <a:pt x="752" y="125"/>
                  </a:cubicBezTo>
                  <a:cubicBezTo>
                    <a:pt x="743" y="125"/>
                    <a:pt x="734" y="123"/>
                    <a:pt x="727" y="123"/>
                  </a:cubicBezTo>
                  <a:cubicBezTo>
                    <a:pt x="717" y="123"/>
                    <a:pt x="709" y="126"/>
                    <a:pt x="704" y="140"/>
                  </a:cubicBezTo>
                  <a:cubicBezTo>
                    <a:pt x="688" y="121"/>
                    <a:pt x="676" y="111"/>
                    <a:pt x="664" y="111"/>
                  </a:cubicBezTo>
                  <a:cubicBezTo>
                    <a:pt x="652" y="111"/>
                    <a:pt x="640" y="121"/>
                    <a:pt x="624" y="140"/>
                  </a:cubicBezTo>
                  <a:cubicBezTo>
                    <a:pt x="648" y="156"/>
                    <a:pt x="680" y="172"/>
                    <a:pt x="656" y="204"/>
                  </a:cubicBezTo>
                  <a:cubicBezTo>
                    <a:pt x="650" y="216"/>
                    <a:pt x="643" y="220"/>
                    <a:pt x="637" y="220"/>
                  </a:cubicBezTo>
                  <a:cubicBezTo>
                    <a:pt x="623" y="220"/>
                    <a:pt x="617" y="192"/>
                    <a:pt x="640" y="180"/>
                  </a:cubicBezTo>
                  <a:cubicBezTo>
                    <a:pt x="620" y="170"/>
                    <a:pt x="606" y="160"/>
                    <a:pt x="593" y="160"/>
                  </a:cubicBezTo>
                  <a:cubicBezTo>
                    <a:pt x="585" y="160"/>
                    <a:pt x="577" y="164"/>
                    <a:pt x="568" y="172"/>
                  </a:cubicBezTo>
                  <a:cubicBezTo>
                    <a:pt x="571" y="170"/>
                    <a:pt x="574" y="169"/>
                    <a:pt x="576" y="169"/>
                  </a:cubicBezTo>
                  <a:cubicBezTo>
                    <a:pt x="582" y="169"/>
                    <a:pt x="587" y="172"/>
                    <a:pt x="592" y="172"/>
                  </a:cubicBezTo>
                  <a:cubicBezTo>
                    <a:pt x="584" y="180"/>
                    <a:pt x="584" y="204"/>
                    <a:pt x="576" y="204"/>
                  </a:cubicBezTo>
                  <a:cubicBezTo>
                    <a:pt x="575" y="206"/>
                    <a:pt x="572" y="207"/>
                    <a:pt x="568" y="207"/>
                  </a:cubicBezTo>
                  <a:cubicBezTo>
                    <a:pt x="553" y="207"/>
                    <a:pt x="525" y="196"/>
                    <a:pt x="513" y="196"/>
                  </a:cubicBezTo>
                  <a:cubicBezTo>
                    <a:pt x="417" y="196"/>
                    <a:pt x="417" y="196"/>
                    <a:pt x="417" y="196"/>
                  </a:cubicBezTo>
                  <a:cubicBezTo>
                    <a:pt x="419" y="209"/>
                    <a:pt x="416" y="214"/>
                    <a:pt x="410" y="214"/>
                  </a:cubicBezTo>
                  <a:cubicBezTo>
                    <a:pt x="397" y="214"/>
                    <a:pt x="372" y="194"/>
                    <a:pt x="361" y="188"/>
                  </a:cubicBezTo>
                  <a:cubicBezTo>
                    <a:pt x="374" y="171"/>
                    <a:pt x="392" y="165"/>
                    <a:pt x="411" y="165"/>
                  </a:cubicBezTo>
                  <a:cubicBezTo>
                    <a:pt x="426" y="165"/>
                    <a:pt x="442" y="169"/>
                    <a:pt x="457" y="172"/>
                  </a:cubicBezTo>
                  <a:cubicBezTo>
                    <a:pt x="462" y="174"/>
                    <a:pt x="469" y="175"/>
                    <a:pt x="477" y="175"/>
                  </a:cubicBezTo>
                  <a:cubicBezTo>
                    <a:pt x="501" y="175"/>
                    <a:pt x="529" y="165"/>
                    <a:pt x="529" y="140"/>
                  </a:cubicBezTo>
                  <a:cubicBezTo>
                    <a:pt x="505" y="132"/>
                    <a:pt x="489" y="132"/>
                    <a:pt x="465" y="109"/>
                  </a:cubicBezTo>
                  <a:cubicBezTo>
                    <a:pt x="465" y="104"/>
                    <a:pt x="464" y="101"/>
                    <a:pt x="463" y="97"/>
                  </a:cubicBezTo>
                  <a:cubicBezTo>
                    <a:pt x="279" y="179"/>
                    <a:pt x="119" y="307"/>
                    <a:pt x="0" y="467"/>
                  </a:cubicBezTo>
                  <a:cubicBezTo>
                    <a:pt x="20" y="482"/>
                    <a:pt x="36" y="495"/>
                    <a:pt x="41" y="500"/>
                  </a:cubicBezTo>
                  <a:cubicBezTo>
                    <a:pt x="57" y="516"/>
                    <a:pt x="65" y="532"/>
                    <a:pt x="81" y="556"/>
                  </a:cubicBezTo>
                  <a:cubicBezTo>
                    <a:pt x="81" y="556"/>
                    <a:pt x="89" y="572"/>
                    <a:pt x="97" y="580"/>
                  </a:cubicBezTo>
                  <a:cubicBezTo>
                    <a:pt x="113" y="596"/>
                    <a:pt x="129" y="612"/>
                    <a:pt x="129" y="628"/>
                  </a:cubicBezTo>
                  <a:cubicBezTo>
                    <a:pt x="129" y="652"/>
                    <a:pt x="121" y="668"/>
                    <a:pt x="121" y="692"/>
                  </a:cubicBezTo>
                  <a:cubicBezTo>
                    <a:pt x="121" y="763"/>
                    <a:pt x="129" y="835"/>
                    <a:pt x="185" y="883"/>
                  </a:cubicBezTo>
                  <a:cubicBezTo>
                    <a:pt x="193" y="899"/>
                    <a:pt x="217" y="907"/>
                    <a:pt x="233" y="923"/>
                  </a:cubicBezTo>
                  <a:cubicBezTo>
                    <a:pt x="244" y="934"/>
                    <a:pt x="248" y="946"/>
                    <a:pt x="243" y="946"/>
                  </a:cubicBezTo>
                  <a:cubicBezTo>
                    <a:pt x="241" y="946"/>
                    <a:pt x="238" y="944"/>
                    <a:pt x="233" y="939"/>
                  </a:cubicBezTo>
                  <a:cubicBezTo>
                    <a:pt x="257" y="979"/>
                    <a:pt x="289" y="1019"/>
                    <a:pt x="321" y="1059"/>
                  </a:cubicBezTo>
                  <a:cubicBezTo>
                    <a:pt x="332" y="1074"/>
                    <a:pt x="340" y="1082"/>
                    <a:pt x="342" y="1082"/>
                  </a:cubicBezTo>
                  <a:cubicBezTo>
                    <a:pt x="345" y="1082"/>
                    <a:pt x="342" y="1072"/>
                    <a:pt x="329" y="1051"/>
                  </a:cubicBezTo>
                  <a:cubicBezTo>
                    <a:pt x="313" y="1019"/>
                    <a:pt x="289" y="995"/>
                    <a:pt x="273" y="971"/>
                  </a:cubicBezTo>
                  <a:cubicBezTo>
                    <a:pt x="273" y="963"/>
                    <a:pt x="257" y="931"/>
                    <a:pt x="265" y="931"/>
                  </a:cubicBezTo>
                  <a:cubicBezTo>
                    <a:pt x="305" y="947"/>
                    <a:pt x="313" y="971"/>
                    <a:pt x="337" y="1003"/>
                  </a:cubicBezTo>
                  <a:cubicBezTo>
                    <a:pt x="361" y="1035"/>
                    <a:pt x="385" y="1051"/>
                    <a:pt x="401" y="1091"/>
                  </a:cubicBezTo>
                  <a:cubicBezTo>
                    <a:pt x="417" y="1139"/>
                    <a:pt x="441" y="1163"/>
                    <a:pt x="489" y="1179"/>
                  </a:cubicBezTo>
                  <a:cubicBezTo>
                    <a:pt x="513" y="1187"/>
                    <a:pt x="545" y="1219"/>
                    <a:pt x="568" y="1219"/>
                  </a:cubicBezTo>
                  <a:cubicBezTo>
                    <a:pt x="572" y="1220"/>
                    <a:pt x="576" y="1220"/>
                    <a:pt x="579" y="1220"/>
                  </a:cubicBezTo>
                  <a:cubicBezTo>
                    <a:pt x="585" y="1220"/>
                    <a:pt x="591" y="1219"/>
                    <a:pt x="597" y="1217"/>
                  </a:cubicBezTo>
                  <a:cubicBezTo>
                    <a:pt x="603" y="1215"/>
                    <a:pt x="609" y="1213"/>
                    <a:pt x="615" y="1213"/>
                  </a:cubicBezTo>
                  <a:cubicBezTo>
                    <a:pt x="620" y="1213"/>
                    <a:pt x="626" y="1215"/>
                    <a:pt x="632" y="1219"/>
                  </a:cubicBezTo>
                  <a:cubicBezTo>
                    <a:pt x="648" y="1227"/>
                    <a:pt x="656" y="1251"/>
                    <a:pt x="680" y="1259"/>
                  </a:cubicBezTo>
                  <a:cubicBezTo>
                    <a:pt x="692" y="1259"/>
                    <a:pt x="702" y="1257"/>
                    <a:pt x="711" y="1257"/>
                  </a:cubicBezTo>
                  <a:cubicBezTo>
                    <a:pt x="720" y="1257"/>
                    <a:pt x="728" y="1259"/>
                    <a:pt x="736" y="1267"/>
                  </a:cubicBezTo>
                  <a:cubicBezTo>
                    <a:pt x="760" y="1283"/>
                    <a:pt x="768" y="1307"/>
                    <a:pt x="792" y="1323"/>
                  </a:cubicBezTo>
                  <a:cubicBezTo>
                    <a:pt x="808" y="1339"/>
                    <a:pt x="832" y="1354"/>
                    <a:pt x="848" y="1354"/>
                  </a:cubicBezTo>
                  <a:cubicBezTo>
                    <a:pt x="825" y="1339"/>
                    <a:pt x="817" y="1293"/>
                    <a:pt x="838" y="1276"/>
                  </a:cubicBezTo>
                  <a:cubicBezTo>
                    <a:pt x="838" y="1276"/>
                    <a:pt x="837" y="1276"/>
                    <a:pt x="837" y="1276"/>
                  </a:cubicBezTo>
                  <a:cubicBezTo>
                    <a:pt x="832" y="1276"/>
                    <a:pt x="831" y="1258"/>
                    <a:pt x="824" y="1251"/>
                  </a:cubicBezTo>
                  <a:cubicBezTo>
                    <a:pt x="821" y="1248"/>
                    <a:pt x="817" y="1247"/>
                    <a:pt x="812" y="1247"/>
                  </a:cubicBezTo>
                  <a:cubicBezTo>
                    <a:pt x="801" y="1247"/>
                    <a:pt x="787" y="1251"/>
                    <a:pt x="776" y="1251"/>
                  </a:cubicBezTo>
                  <a:cubicBezTo>
                    <a:pt x="760" y="1251"/>
                    <a:pt x="744" y="1243"/>
                    <a:pt x="752" y="1227"/>
                  </a:cubicBezTo>
                  <a:cubicBezTo>
                    <a:pt x="752" y="1203"/>
                    <a:pt x="808" y="1147"/>
                    <a:pt x="752" y="1147"/>
                  </a:cubicBezTo>
                  <a:cubicBezTo>
                    <a:pt x="720" y="1147"/>
                    <a:pt x="712" y="1195"/>
                    <a:pt x="680" y="1203"/>
                  </a:cubicBezTo>
                  <a:cubicBezTo>
                    <a:pt x="675" y="1204"/>
                    <a:pt x="669" y="1205"/>
                    <a:pt x="663" y="1205"/>
                  </a:cubicBezTo>
                  <a:cubicBezTo>
                    <a:pt x="635" y="1205"/>
                    <a:pt x="606" y="1189"/>
                    <a:pt x="592" y="1163"/>
                  </a:cubicBezTo>
                  <a:cubicBezTo>
                    <a:pt x="553" y="1091"/>
                    <a:pt x="616" y="1011"/>
                    <a:pt x="680" y="1003"/>
                  </a:cubicBezTo>
                  <a:cubicBezTo>
                    <a:pt x="713" y="1003"/>
                    <a:pt x="752" y="989"/>
                    <a:pt x="786" y="989"/>
                  </a:cubicBezTo>
                  <a:cubicBezTo>
                    <a:pt x="810" y="989"/>
                    <a:pt x="832" y="996"/>
                    <a:pt x="848" y="1019"/>
                  </a:cubicBezTo>
                  <a:cubicBezTo>
                    <a:pt x="861" y="1032"/>
                    <a:pt x="879" y="1076"/>
                    <a:pt x="906" y="1076"/>
                  </a:cubicBezTo>
                  <a:cubicBezTo>
                    <a:pt x="913" y="1076"/>
                    <a:pt x="920" y="1073"/>
                    <a:pt x="928" y="1067"/>
                  </a:cubicBezTo>
                  <a:cubicBezTo>
                    <a:pt x="936" y="1059"/>
                    <a:pt x="920" y="1003"/>
                    <a:pt x="912" y="979"/>
                  </a:cubicBezTo>
                  <a:cubicBezTo>
                    <a:pt x="920" y="963"/>
                    <a:pt x="936" y="955"/>
                    <a:pt x="952" y="939"/>
                  </a:cubicBezTo>
                  <a:cubicBezTo>
                    <a:pt x="944" y="947"/>
                    <a:pt x="944" y="947"/>
                    <a:pt x="944" y="947"/>
                  </a:cubicBezTo>
                  <a:cubicBezTo>
                    <a:pt x="960" y="931"/>
                    <a:pt x="992" y="915"/>
                    <a:pt x="1000" y="899"/>
                  </a:cubicBezTo>
                  <a:cubicBezTo>
                    <a:pt x="1008" y="883"/>
                    <a:pt x="992" y="875"/>
                    <a:pt x="1000" y="859"/>
                  </a:cubicBezTo>
                  <a:cubicBezTo>
                    <a:pt x="1000" y="843"/>
                    <a:pt x="1016" y="851"/>
                    <a:pt x="1024" y="843"/>
                  </a:cubicBezTo>
                  <a:cubicBezTo>
                    <a:pt x="1032" y="827"/>
                    <a:pt x="1032" y="811"/>
                    <a:pt x="1040" y="803"/>
                  </a:cubicBezTo>
                  <a:cubicBezTo>
                    <a:pt x="1048" y="787"/>
                    <a:pt x="1064" y="787"/>
                    <a:pt x="1072" y="779"/>
                  </a:cubicBezTo>
                  <a:cubicBezTo>
                    <a:pt x="1088" y="755"/>
                    <a:pt x="1096" y="731"/>
                    <a:pt x="1120" y="724"/>
                  </a:cubicBezTo>
                  <a:cubicBezTo>
                    <a:pt x="1139" y="711"/>
                    <a:pt x="1158" y="687"/>
                    <a:pt x="1182" y="687"/>
                  </a:cubicBezTo>
                  <a:cubicBezTo>
                    <a:pt x="1188" y="687"/>
                    <a:pt x="1193" y="689"/>
                    <a:pt x="1199" y="692"/>
                  </a:cubicBezTo>
                  <a:cubicBezTo>
                    <a:pt x="1183" y="708"/>
                    <a:pt x="1160" y="716"/>
                    <a:pt x="1152" y="724"/>
                  </a:cubicBezTo>
                  <a:cubicBezTo>
                    <a:pt x="1149" y="726"/>
                    <a:pt x="1152" y="727"/>
                    <a:pt x="1159" y="727"/>
                  </a:cubicBezTo>
                  <a:cubicBezTo>
                    <a:pt x="1171" y="727"/>
                    <a:pt x="1194" y="724"/>
                    <a:pt x="1199" y="724"/>
                  </a:cubicBezTo>
                  <a:cubicBezTo>
                    <a:pt x="1223" y="716"/>
                    <a:pt x="1239" y="700"/>
                    <a:pt x="1263" y="684"/>
                  </a:cubicBezTo>
                  <a:cubicBezTo>
                    <a:pt x="1289" y="668"/>
                    <a:pt x="1314" y="663"/>
                    <a:pt x="1341" y="663"/>
                  </a:cubicBezTo>
                  <a:cubicBezTo>
                    <a:pt x="1357" y="663"/>
                    <a:pt x="1374" y="665"/>
                    <a:pt x="1391" y="668"/>
                  </a:cubicBezTo>
                  <a:cubicBezTo>
                    <a:pt x="1392" y="668"/>
                    <a:pt x="1392" y="668"/>
                    <a:pt x="1392" y="668"/>
                  </a:cubicBezTo>
                  <a:cubicBezTo>
                    <a:pt x="1395" y="668"/>
                    <a:pt x="1367" y="619"/>
                    <a:pt x="1359" y="612"/>
                  </a:cubicBezTo>
                  <a:cubicBezTo>
                    <a:pt x="1349" y="602"/>
                    <a:pt x="1342" y="591"/>
                    <a:pt x="1332" y="591"/>
                  </a:cubicBezTo>
                  <a:cubicBezTo>
                    <a:pt x="1327" y="591"/>
                    <a:pt x="1320" y="595"/>
                    <a:pt x="1311" y="604"/>
                  </a:cubicBezTo>
                  <a:cubicBezTo>
                    <a:pt x="1303" y="612"/>
                    <a:pt x="1295" y="636"/>
                    <a:pt x="1287" y="644"/>
                  </a:cubicBezTo>
                  <a:cubicBezTo>
                    <a:pt x="1271" y="668"/>
                    <a:pt x="1271" y="668"/>
                    <a:pt x="1239" y="684"/>
                  </a:cubicBezTo>
                  <a:cubicBezTo>
                    <a:pt x="1247" y="684"/>
                    <a:pt x="1247" y="684"/>
                    <a:pt x="1247" y="684"/>
                  </a:cubicBezTo>
                  <a:cubicBezTo>
                    <a:pt x="1233" y="687"/>
                    <a:pt x="1220" y="691"/>
                    <a:pt x="1210" y="691"/>
                  </a:cubicBezTo>
                  <a:cubicBezTo>
                    <a:pt x="1197" y="691"/>
                    <a:pt x="1188" y="685"/>
                    <a:pt x="1183" y="668"/>
                  </a:cubicBezTo>
                  <a:cubicBezTo>
                    <a:pt x="1175" y="652"/>
                    <a:pt x="1191" y="636"/>
                    <a:pt x="1183" y="628"/>
                  </a:cubicBezTo>
                  <a:cubicBezTo>
                    <a:pt x="1180" y="623"/>
                    <a:pt x="1176" y="621"/>
                    <a:pt x="1170" y="621"/>
                  </a:cubicBezTo>
                  <a:cubicBezTo>
                    <a:pt x="1147" y="621"/>
                    <a:pt x="1107" y="653"/>
                    <a:pt x="1088" y="660"/>
                  </a:cubicBezTo>
                  <a:cubicBezTo>
                    <a:pt x="1092" y="613"/>
                    <a:pt x="1123" y="605"/>
                    <a:pt x="1160" y="605"/>
                  </a:cubicBezTo>
                  <a:cubicBezTo>
                    <a:pt x="1170" y="605"/>
                    <a:pt x="1181" y="605"/>
                    <a:pt x="1192" y="606"/>
                  </a:cubicBezTo>
                  <a:cubicBezTo>
                    <a:pt x="1202" y="607"/>
                    <a:pt x="1213" y="607"/>
                    <a:pt x="1223" y="607"/>
                  </a:cubicBezTo>
                  <a:cubicBezTo>
                    <a:pt x="1235" y="607"/>
                    <a:pt x="1246" y="606"/>
                    <a:pt x="1255" y="604"/>
                  </a:cubicBezTo>
                  <a:cubicBezTo>
                    <a:pt x="1271" y="596"/>
                    <a:pt x="1327" y="580"/>
                    <a:pt x="1327" y="564"/>
                  </a:cubicBezTo>
                  <a:cubicBezTo>
                    <a:pt x="1335" y="540"/>
                    <a:pt x="1279" y="508"/>
                    <a:pt x="1271" y="500"/>
                  </a:cubicBezTo>
                  <a:cubicBezTo>
                    <a:pt x="1247" y="476"/>
                    <a:pt x="1239" y="468"/>
                    <a:pt x="1223" y="436"/>
                  </a:cubicBezTo>
                  <a:cubicBezTo>
                    <a:pt x="1211" y="412"/>
                    <a:pt x="1204" y="388"/>
                    <a:pt x="1184" y="388"/>
                  </a:cubicBezTo>
                  <a:cubicBezTo>
                    <a:pt x="1177" y="388"/>
                    <a:pt x="1169" y="390"/>
                    <a:pt x="1160" y="396"/>
                  </a:cubicBezTo>
                  <a:cubicBezTo>
                    <a:pt x="1152" y="404"/>
                    <a:pt x="1160" y="428"/>
                    <a:pt x="1136" y="428"/>
                  </a:cubicBezTo>
                  <a:cubicBezTo>
                    <a:pt x="1120" y="428"/>
                    <a:pt x="1104" y="412"/>
                    <a:pt x="1096" y="404"/>
                  </a:cubicBezTo>
                  <a:cubicBezTo>
                    <a:pt x="1088" y="388"/>
                    <a:pt x="1072" y="356"/>
                    <a:pt x="1048" y="356"/>
                  </a:cubicBezTo>
                  <a:cubicBezTo>
                    <a:pt x="1029" y="350"/>
                    <a:pt x="993" y="335"/>
                    <a:pt x="966" y="335"/>
                  </a:cubicBezTo>
                  <a:cubicBezTo>
                    <a:pt x="957" y="335"/>
                    <a:pt x="950" y="336"/>
                    <a:pt x="944" y="340"/>
                  </a:cubicBezTo>
                  <a:cubicBezTo>
                    <a:pt x="920" y="356"/>
                    <a:pt x="944" y="412"/>
                    <a:pt x="952" y="428"/>
                  </a:cubicBezTo>
                  <a:cubicBezTo>
                    <a:pt x="960" y="468"/>
                    <a:pt x="968" y="476"/>
                    <a:pt x="936" y="500"/>
                  </a:cubicBezTo>
                  <a:cubicBezTo>
                    <a:pt x="920" y="508"/>
                    <a:pt x="904" y="500"/>
                    <a:pt x="912" y="532"/>
                  </a:cubicBezTo>
                  <a:cubicBezTo>
                    <a:pt x="912" y="556"/>
                    <a:pt x="936" y="556"/>
                    <a:pt x="920" y="572"/>
                  </a:cubicBezTo>
                  <a:cubicBezTo>
                    <a:pt x="915" y="581"/>
                    <a:pt x="905" y="585"/>
                    <a:pt x="896" y="585"/>
                  </a:cubicBezTo>
                  <a:cubicBezTo>
                    <a:pt x="889" y="585"/>
                    <a:pt x="883" y="583"/>
                    <a:pt x="880" y="580"/>
                  </a:cubicBezTo>
                  <a:cubicBezTo>
                    <a:pt x="848" y="564"/>
                    <a:pt x="880" y="548"/>
                    <a:pt x="864" y="524"/>
                  </a:cubicBezTo>
                  <a:cubicBezTo>
                    <a:pt x="856" y="508"/>
                    <a:pt x="800" y="492"/>
                    <a:pt x="776" y="484"/>
                  </a:cubicBezTo>
                  <a:cubicBezTo>
                    <a:pt x="728" y="468"/>
                    <a:pt x="608" y="444"/>
                    <a:pt x="648" y="372"/>
                  </a:cubicBezTo>
                  <a:cubicBezTo>
                    <a:pt x="656" y="356"/>
                    <a:pt x="696" y="324"/>
                    <a:pt x="712" y="316"/>
                  </a:cubicBezTo>
                  <a:cubicBezTo>
                    <a:pt x="728" y="300"/>
                    <a:pt x="752" y="300"/>
                    <a:pt x="768" y="284"/>
                  </a:cubicBezTo>
                  <a:cubicBezTo>
                    <a:pt x="776" y="276"/>
                    <a:pt x="776" y="252"/>
                    <a:pt x="784" y="244"/>
                  </a:cubicBezTo>
                  <a:cubicBezTo>
                    <a:pt x="788" y="236"/>
                    <a:pt x="798" y="234"/>
                    <a:pt x="809" y="234"/>
                  </a:cubicBezTo>
                  <a:cubicBezTo>
                    <a:pt x="820" y="234"/>
                    <a:pt x="832" y="236"/>
                    <a:pt x="840" y="236"/>
                  </a:cubicBezTo>
                  <a:cubicBezTo>
                    <a:pt x="899" y="222"/>
                    <a:pt x="856" y="139"/>
                    <a:pt x="918" y="139"/>
                  </a:cubicBezTo>
                  <a:cubicBezTo>
                    <a:pt x="923" y="139"/>
                    <a:pt x="929" y="139"/>
                    <a:pt x="936" y="140"/>
                  </a:cubicBezTo>
                  <a:cubicBezTo>
                    <a:pt x="968" y="140"/>
                    <a:pt x="992" y="172"/>
                    <a:pt x="1000" y="180"/>
                  </a:cubicBezTo>
                  <a:cubicBezTo>
                    <a:pt x="1024" y="196"/>
                    <a:pt x="1032" y="196"/>
                    <a:pt x="1024" y="220"/>
                  </a:cubicBezTo>
                  <a:cubicBezTo>
                    <a:pt x="1024" y="228"/>
                    <a:pt x="1000" y="252"/>
                    <a:pt x="992" y="260"/>
                  </a:cubicBezTo>
                  <a:cubicBezTo>
                    <a:pt x="976" y="268"/>
                    <a:pt x="960" y="268"/>
                    <a:pt x="944" y="276"/>
                  </a:cubicBezTo>
                  <a:cubicBezTo>
                    <a:pt x="992" y="276"/>
                    <a:pt x="1008" y="276"/>
                    <a:pt x="1048" y="300"/>
                  </a:cubicBezTo>
                  <a:cubicBezTo>
                    <a:pt x="1080" y="316"/>
                    <a:pt x="1104" y="332"/>
                    <a:pt x="1144" y="332"/>
                  </a:cubicBezTo>
                  <a:cubicBezTo>
                    <a:pt x="1136" y="316"/>
                    <a:pt x="1104" y="316"/>
                    <a:pt x="1104" y="300"/>
                  </a:cubicBezTo>
                  <a:cubicBezTo>
                    <a:pt x="1104" y="296"/>
                    <a:pt x="1105" y="295"/>
                    <a:pt x="1107" y="295"/>
                  </a:cubicBezTo>
                  <a:cubicBezTo>
                    <a:pt x="1114" y="295"/>
                    <a:pt x="1128" y="308"/>
                    <a:pt x="1128" y="308"/>
                  </a:cubicBezTo>
                  <a:cubicBezTo>
                    <a:pt x="1132" y="308"/>
                    <a:pt x="1142" y="312"/>
                    <a:pt x="1150" y="312"/>
                  </a:cubicBezTo>
                  <a:cubicBezTo>
                    <a:pt x="1158" y="312"/>
                    <a:pt x="1164" y="308"/>
                    <a:pt x="1160" y="292"/>
                  </a:cubicBezTo>
                  <a:cubicBezTo>
                    <a:pt x="1152" y="260"/>
                    <a:pt x="1096" y="276"/>
                    <a:pt x="1112" y="228"/>
                  </a:cubicBezTo>
                  <a:cubicBezTo>
                    <a:pt x="1115" y="227"/>
                    <a:pt x="1118" y="227"/>
                    <a:pt x="1121" y="227"/>
                  </a:cubicBezTo>
                  <a:cubicBezTo>
                    <a:pt x="1142" y="227"/>
                    <a:pt x="1137" y="253"/>
                    <a:pt x="1152" y="260"/>
                  </a:cubicBezTo>
                  <a:cubicBezTo>
                    <a:pt x="1154" y="261"/>
                    <a:pt x="1156" y="262"/>
                    <a:pt x="1158" y="262"/>
                  </a:cubicBezTo>
                  <a:cubicBezTo>
                    <a:pt x="1174" y="262"/>
                    <a:pt x="1193" y="242"/>
                    <a:pt x="1199" y="228"/>
                  </a:cubicBezTo>
                  <a:cubicBezTo>
                    <a:pt x="1167" y="220"/>
                    <a:pt x="1088" y="196"/>
                    <a:pt x="1096" y="156"/>
                  </a:cubicBezTo>
                  <a:cubicBezTo>
                    <a:pt x="1152" y="188"/>
                    <a:pt x="1207" y="228"/>
                    <a:pt x="1263" y="260"/>
                  </a:cubicBezTo>
                  <a:cubicBezTo>
                    <a:pt x="1245" y="278"/>
                    <a:pt x="1250" y="283"/>
                    <a:pt x="1262" y="283"/>
                  </a:cubicBezTo>
                  <a:cubicBezTo>
                    <a:pt x="1276" y="283"/>
                    <a:pt x="1299" y="276"/>
                    <a:pt x="1303" y="276"/>
                  </a:cubicBezTo>
                  <a:cubicBezTo>
                    <a:pt x="1319" y="284"/>
                    <a:pt x="1351" y="308"/>
                    <a:pt x="1327" y="316"/>
                  </a:cubicBezTo>
                  <a:cubicBezTo>
                    <a:pt x="1324" y="317"/>
                    <a:pt x="1322" y="318"/>
                    <a:pt x="1319" y="318"/>
                  </a:cubicBezTo>
                  <a:cubicBezTo>
                    <a:pt x="1313" y="318"/>
                    <a:pt x="1308" y="315"/>
                    <a:pt x="1303" y="312"/>
                  </a:cubicBezTo>
                  <a:cubicBezTo>
                    <a:pt x="1298" y="310"/>
                    <a:pt x="1294" y="307"/>
                    <a:pt x="1289" y="307"/>
                  </a:cubicBezTo>
                  <a:cubicBezTo>
                    <a:pt x="1284" y="307"/>
                    <a:pt x="1278" y="309"/>
                    <a:pt x="1271" y="316"/>
                  </a:cubicBezTo>
                  <a:cubicBezTo>
                    <a:pt x="1295" y="324"/>
                    <a:pt x="1359" y="324"/>
                    <a:pt x="1343" y="364"/>
                  </a:cubicBezTo>
                  <a:cubicBezTo>
                    <a:pt x="1335" y="380"/>
                    <a:pt x="1295" y="372"/>
                    <a:pt x="1279" y="404"/>
                  </a:cubicBezTo>
                  <a:cubicBezTo>
                    <a:pt x="1311" y="404"/>
                    <a:pt x="1311" y="404"/>
                    <a:pt x="1311" y="404"/>
                  </a:cubicBezTo>
                  <a:cubicBezTo>
                    <a:pt x="1287" y="436"/>
                    <a:pt x="1319" y="460"/>
                    <a:pt x="1335" y="484"/>
                  </a:cubicBezTo>
                  <a:cubicBezTo>
                    <a:pt x="1359" y="516"/>
                    <a:pt x="1383" y="564"/>
                    <a:pt x="1423" y="572"/>
                  </a:cubicBezTo>
                  <a:cubicBezTo>
                    <a:pt x="1428" y="573"/>
                    <a:pt x="1432" y="573"/>
                    <a:pt x="1436" y="573"/>
                  </a:cubicBezTo>
                  <a:cubicBezTo>
                    <a:pt x="1502" y="573"/>
                    <a:pt x="1499" y="459"/>
                    <a:pt x="1559" y="436"/>
                  </a:cubicBezTo>
                  <a:cubicBezTo>
                    <a:pt x="1575" y="428"/>
                    <a:pt x="1599" y="436"/>
                    <a:pt x="1615" y="428"/>
                  </a:cubicBezTo>
                  <a:cubicBezTo>
                    <a:pt x="1639" y="420"/>
                    <a:pt x="1647" y="404"/>
                    <a:pt x="1663" y="396"/>
                  </a:cubicBezTo>
                  <a:cubicBezTo>
                    <a:pt x="1688" y="381"/>
                    <a:pt x="1709" y="375"/>
                    <a:pt x="1734" y="373"/>
                  </a:cubicBezTo>
                  <a:cubicBezTo>
                    <a:pt x="1708" y="332"/>
                    <a:pt x="1680" y="292"/>
                    <a:pt x="1650" y="254"/>
                  </a:cubicBezTo>
                  <a:cubicBezTo>
                    <a:pt x="1506" y="138"/>
                    <a:pt x="1333" y="56"/>
                    <a:pt x="1144" y="20"/>
                  </a:cubicBezTo>
                  <a:cubicBezTo>
                    <a:pt x="1123" y="29"/>
                    <a:pt x="1105" y="41"/>
                    <a:pt x="1088" y="53"/>
                  </a:cubicBezTo>
                  <a:cubicBezTo>
                    <a:pt x="1104" y="61"/>
                    <a:pt x="1112" y="61"/>
                    <a:pt x="1128" y="61"/>
                  </a:cubicBezTo>
                  <a:cubicBezTo>
                    <a:pt x="1121" y="84"/>
                    <a:pt x="1101" y="90"/>
                    <a:pt x="1077" y="90"/>
                  </a:cubicBezTo>
                  <a:cubicBezTo>
                    <a:pt x="1042" y="90"/>
                    <a:pt x="999" y="77"/>
                    <a:pt x="976" y="77"/>
                  </a:cubicBezTo>
                  <a:cubicBezTo>
                    <a:pt x="1008" y="61"/>
                    <a:pt x="1056" y="45"/>
                    <a:pt x="1080" y="29"/>
                  </a:cubicBezTo>
                  <a:cubicBezTo>
                    <a:pt x="1086" y="23"/>
                    <a:pt x="1083" y="17"/>
                    <a:pt x="1087" y="11"/>
                  </a:cubicBezTo>
                  <a:cubicBezTo>
                    <a:pt x="1040" y="4"/>
                    <a:pt x="992" y="1"/>
                    <a:pt x="943" y="0"/>
                  </a:cubicBezTo>
                  <a:cubicBezTo>
                    <a:pt x="943" y="0"/>
                    <a:pt x="943" y="0"/>
                    <a:pt x="943" y="0"/>
                  </a:cubicBezTo>
                  <a:cubicBezTo>
                    <a:pt x="941" y="0"/>
                    <a:pt x="940" y="0"/>
                    <a:pt x="938" y="0"/>
                  </a:cubicBezTo>
                  <a:cubicBezTo>
                    <a:pt x="938" y="0"/>
                    <a:pt x="938" y="0"/>
                    <a:pt x="938" y="0"/>
                  </a:cubicBezTo>
                  <a:cubicBezTo>
                    <a:pt x="937" y="0"/>
                    <a:pt x="936" y="0"/>
                    <a:pt x="936" y="0"/>
                  </a:cubicBezTo>
                  <a:cubicBezTo>
                    <a:pt x="936" y="0"/>
                    <a:pt x="935" y="0"/>
                    <a:pt x="935" y="0"/>
                  </a:cubicBezTo>
                  <a:cubicBezTo>
                    <a:pt x="935" y="0"/>
                    <a:pt x="934" y="0"/>
                    <a:pt x="933" y="0"/>
                  </a:cubicBezTo>
                  <a:cubicBezTo>
                    <a:pt x="933" y="0"/>
                    <a:pt x="933" y="0"/>
                    <a:pt x="933" y="0"/>
                  </a:cubicBezTo>
                  <a:cubicBezTo>
                    <a:pt x="932" y="0"/>
                    <a:pt x="931" y="0"/>
                    <a:pt x="931" y="0"/>
                  </a:cubicBezTo>
                  <a:cubicBezTo>
                    <a:pt x="931" y="0"/>
                    <a:pt x="930" y="0"/>
                    <a:pt x="930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929" y="0"/>
                    <a:pt x="929" y="0"/>
                    <a:pt x="928" y="0"/>
                  </a:cubicBezTo>
                  <a:cubicBezTo>
                    <a:pt x="928" y="0"/>
                    <a:pt x="928" y="0"/>
                    <a:pt x="928" y="0"/>
                  </a:cubicBezTo>
                </a:path>
              </a:pathLst>
            </a:custGeom>
            <a:solidFill>
              <a:srgbClr val="002A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D8ED721-63D2-4EBB-BB76-7A0DE525AB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55050" y="3590926"/>
              <a:ext cx="3175" cy="158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</a:path>
              </a:pathLst>
            </a:custGeom>
            <a:solidFill>
              <a:srgbClr val="002A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822692DE-665F-496A-AAAE-208429006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75688" y="3713163"/>
              <a:ext cx="76200" cy="15875"/>
            </a:xfrm>
            <a:custGeom>
              <a:avLst/>
              <a:gdLst>
                <a:gd name="T0" fmla="*/ 27 w 48"/>
                <a:gd name="T1" fmla="*/ 0 h 10"/>
                <a:gd name="T2" fmla="*/ 14 w 48"/>
                <a:gd name="T3" fmla="*/ 2 h 10"/>
                <a:gd name="T4" fmla="*/ 3 w 48"/>
                <a:gd name="T5" fmla="*/ 5 h 10"/>
                <a:gd name="T6" fmla="*/ 0 w 48"/>
                <a:gd name="T7" fmla="*/ 4 h 10"/>
                <a:gd name="T8" fmla="*/ 26 w 48"/>
                <a:gd name="T9" fmla="*/ 10 h 10"/>
                <a:gd name="T10" fmla="*/ 48 w 48"/>
                <a:gd name="T11" fmla="*/ 9 h 10"/>
                <a:gd name="T12" fmla="*/ 37 w 48"/>
                <a:gd name="T13" fmla="*/ 2 h 10"/>
                <a:gd name="T14" fmla="*/ 27 w 48"/>
                <a:gd name="T1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10">
                  <a:moveTo>
                    <a:pt x="27" y="0"/>
                  </a:moveTo>
                  <a:cubicBezTo>
                    <a:pt x="22" y="0"/>
                    <a:pt x="18" y="1"/>
                    <a:pt x="14" y="2"/>
                  </a:cubicBezTo>
                  <a:cubicBezTo>
                    <a:pt x="10" y="4"/>
                    <a:pt x="6" y="5"/>
                    <a:pt x="3" y="5"/>
                  </a:cubicBezTo>
                  <a:cubicBezTo>
                    <a:pt x="2" y="5"/>
                    <a:pt x="1" y="5"/>
                    <a:pt x="0" y="4"/>
                  </a:cubicBezTo>
                  <a:cubicBezTo>
                    <a:pt x="8" y="9"/>
                    <a:pt x="17" y="10"/>
                    <a:pt x="26" y="10"/>
                  </a:cubicBezTo>
                  <a:cubicBezTo>
                    <a:pt x="33" y="10"/>
                    <a:pt x="41" y="9"/>
                    <a:pt x="48" y="9"/>
                  </a:cubicBezTo>
                  <a:cubicBezTo>
                    <a:pt x="45" y="6"/>
                    <a:pt x="41" y="4"/>
                    <a:pt x="37" y="2"/>
                  </a:cubicBezTo>
                  <a:cubicBezTo>
                    <a:pt x="34" y="1"/>
                    <a:pt x="30" y="0"/>
                    <a:pt x="27" y="0"/>
                  </a:cubicBezTo>
                </a:path>
              </a:pathLst>
            </a:custGeom>
            <a:solidFill>
              <a:srgbClr val="002A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D80767C-8A7A-48BF-AAD0-E5B39B790E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74125" y="4186238"/>
              <a:ext cx="1125538" cy="1039813"/>
            </a:xfrm>
            <a:custGeom>
              <a:avLst/>
              <a:gdLst>
                <a:gd name="T0" fmla="*/ 709 w 709"/>
                <a:gd name="T1" fmla="*/ 0 h 656"/>
                <a:gd name="T2" fmla="*/ 46 w 709"/>
                <a:gd name="T3" fmla="*/ 446 h 656"/>
                <a:gd name="T4" fmla="*/ 40 w 709"/>
                <a:gd name="T5" fmla="*/ 470 h 656"/>
                <a:gd name="T6" fmla="*/ 16 w 709"/>
                <a:gd name="T7" fmla="*/ 598 h 656"/>
                <a:gd name="T8" fmla="*/ 16 w 709"/>
                <a:gd name="T9" fmla="*/ 638 h 656"/>
                <a:gd name="T10" fmla="*/ 16 w 709"/>
                <a:gd name="T11" fmla="*/ 656 h 656"/>
                <a:gd name="T12" fmla="*/ 155 w 709"/>
                <a:gd name="T13" fmla="*/ 640 h 656"/>
                <a:gd name="T14" fmla="*/ 168 w 709"/>
                <a:gd name="T15" fmla="*/ 598 h 656"/>
                <a:gd name="T16" fmla="*/ 207 w 709"/>
                <a:gd name="T17" fmla="*/ 558 h 656"/>
                <a:gd name="T18" fmla="*/ 311 w 709"/>
                <a:gd name="T19" fmla="*/ 486 h 656"/>
                <a:gd name="T20" fmla="*/ 303 w 709"/>
                <a:gd name="T21" fmla="*/ 470 h 656"/>
                <a:gd name="T22" fmla="*/ 308 w 709"/>
                <a:gd name="T23" fmla="*/ 473 h 656"/>
                <a:gd name="T24" fmla="*/ 324 w 709"/>
                <a:gd name="T25" fmla="*/ 470 h 656"/>
                <a:gd name="T26" fmla="*/ 343 w 709"/>
                <a:gd name="T27" fmla="*/ 468 h 656"/>
                <a:gd name="T28" fmla="*/ 351 w 709"/>
                <a:gd name="T29" fmla="*/ 470 h 656"/>
                <a:gd name="T30" fmla="*/ 352 w 709"/>
                <a:gd name="T31" fmla="*/ 471 h 656"/>
                <a:gd name="T32" fmla="*/ 415 w 709"/>
                <a:gd name="T33" fmla="*/ 390 h 656"/>
                <a:gd name="T34" fmla="*/ 455 w 709"/>
                <a:gd name="T35" fmla="*/ 342 h 656"/>
                <a:gd name="T36" fmla="*/ 471 w 709"/>
                <a:gd name="T37" fmla="*/ 295 h 656"/>
                <a:gd name="T38" fmla="*/ 471 w 709"/>
                <a:gd name="T39" fmla="*/ 302 h 656"/>
                <a:gd name="T40" fmla="*/ 551 w 709"/>
                <a:gd name="T41" fmla="*/ 263 h 656"/>
                <a:gd name="T42" fmla="*/ 583 w 709"/>
                <a:gd name="T43" fmla="*/ 231 h 656"/>
                <a:gd name="T44" fmla="*/ 623 w 709"/>
                <a:gd name="T45" fmla="*/ 183 h 656"/>
                <a:gd name="T46" fmla="*/ 631 w 709"/>
                <a:gd name="T47" fmla="*/ 103 h 656"/>
                <a:gd name="T48" fmla="*/ 695 w 709"/>
                <a:gd name="T49" fmla="*/ 31 h 656"/>
                <a:gd name="T50" fmla="*/ 709 w 709"/>
                <a:gd name="T51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9" h="656">
                  <a:moveTo>
                    <a:pt x="709" y="0"/>
                  </a:moveTo>
                  <a:cubicBezTo>
                    <a:pt x="550" y="219"/>
                    <a:pt x="317" y="380"/>
                    <a:pt x="46" y="446"/>
                  </a:cubicBezTo>
                  <a:cubicBezTo>
                    <a:pt x="44" y="454"/>
                    <a:pt x="42" y="462"/>
                    <a:pt x="40" y="470"/>
                  </a:cubicBezTo>
                  <a:cubicBezTo>
                    <a:pt x="24" y="526"/>
                    <a:pt x="0" y="542"/>
                    <a:pt x="16" y="598"/>
                  </a:cubicBezTo>
                  <a:cubicBezTo>
                    <a:pt x="24" y="622"/>
                    <a:pt x="24" y="606"/>
                    <a:pt x="16" y="638"/>
                  </a:cubicBezTo>
                  <a:cubicBezTo>
                    <a:pt x="16" y="656"/>
                    <a:pt x="16" y="656"/>
                    <a:pt x="16" y="656"/>
                  </a:cubicBezTo>
                  <a:cubicBezTo>
                    <a:pt x="63" y="653"/>
                    <a:pt x="110" y="648"/>
                    <a:pt x="155" y="640"/>
                  </a:cubicBezTo>
                  <a:cubicBezTo>
                    <a:pt x="160" y="627"/>
                    <a:pt x="161" y="605"/>
                    <a:pt x="168" y="598"/>
                  </a:cubicBezTo>
                  <a:cubicBezTo>
                    <a:pt x="184" y="582"/>
                    <a:pt x="215" y="590"/>
                    <a:pt x="207" y="558"/>
                  </a:cubicBezTo>
                  <a:cubicBezTo>
                    <a:pt x="271" y="558"/>
                    <a:pt x="303" y="550"/>
                    <a:pt x="311" y="486"/>
                  </a:cubicBezTo>
                  <a:cubicBezTo>
                    <a:pt x="303" y="478"/>
                    <a:pt x="303" y="478"/>
                    <a:pt x="303" y="470"/>
                  </a:cubicBezTo>
                  <a:cubicBezTo>
                    <a:pt x="303" y="472"/>
                    <a:pt x="305" y="473"/>
                    <a:pt x="308" y="473"/>
                  </a:cubicBezTo>
                  <a:cubicBezTo>
                    <a:pt x="312" y="473"/>
                    <a:pt x="318" y="471"/>
                    <a:pt x="324" y="470"/>
                  </a:cubicBezTo>
                  <a:cubicBezTo>
                    <a:pt x="331" y="469"/>
                    <a:pt x="337" y="468"/>
                    <a:pt x="343" y="468"/>
                  </a:cubicBezTo>
                  <a:cubicBezTo>
                    <a:pt x="346" y="468"/>
                    <a:pt x="350" y="469"/>
                    <a:pt x="351" y="470"/>
                  </a:cubicBezTo>
                  <a:cubicBezTo>
                    <a:pt x="351" y="471"/>
                    <a:pt x="351" y="471"/>
                    <a:pt x="352" y="471"/>
                  </a:cubicBezTo>
                  <a:cubicBezTo>
                    <a:pt x="356" y="471"/>
                    <a:pt x="408" y="398"/>
                    <a:pt x="415" y="390"/>
                  </a:cubicBezTo>
                  <a:cubicBezTo>
                    <a:pt x="431" y="374"/>
                    <a:pt x="447" y="366"/>
                    <a:pt x="455" y="342"/>
                  </a:cubicBezTo>
                  <a:cubicBezTo>
                    <a:pt x="455" y="334"/>
                    <a:pt x="463" y="310"/>
                    <a:pt x="471" y="295"/>
                  </a:cubicBezTo>
                  <a:cubicBezTo>
                    <a:pt x="471" y="302"/>
                    <a:pt x="471" y="302"/>
                    <a:pt x="471" y="302"/>
                  </a:cubicBezTo>
                  <a:cubicBezTo>
                    <a:pt x="495" y="271"/>
                    <a:pt x="519" y="279"/>
                    <a:pt x="551" y="263"/>
                  </a:cubicBezTo>
                  <a:cubicBezTo>
                    <a:pt x="583" y="247"/>
                    <a:pt x="559" y="255"/>
                    <a:pt x="583" y="231"/>
                  </a:cubicBezTo>
                  <a:cubicBezTo>
                    <a:pt x="607" y="207"/>
                    <a:pt x="615" y="223"/>
                    <a:pt x="623" y="183"/>
                  </a:cubicBezTo>
                  <a:cubicBezTo>
                    <a:pt x="631" y="159"/>
                    <a:pt x="623" y="127"/>
                    <a:pt x="631" y="103"/>
                  </a:cubicBezTo>
                  <a:cubicBezTo>
                    <a:pt x="647" y="71"/>
                    <a:pt x="679" y="63"/>
                    <a:pt x="695" y="31"/>
                  </a:cubicBezTo>
                  <a:cubicBezTo>
                    <a:pt x="701" y="22"/>
                    <a:pt x="706" y="11"/>
                    <a:pt x="709" y="0"/>
                  </a:cubicBezTo>
                </a:path>
              </a:pathLst>
            </a:custGeom>
            <a:solidFill>
              <a:srgbClr val="0026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B3A9990D-5549-4378-8558-946C54CEC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58225" y="3654426"/>
              <a:ext cx="1347788" cy="1239838"/>
            </a:xfrm>
            <a:custGeom>
              <a:avLst/>
              <a:gdLst>
                <a:gd name="T0" fmla="*/ 264 w 849"/>
                <a:gd name="T1" fmla="*/ 0 h 782"/>
                <a:gd name="T2" fmla="*/ 216 w 849"/>
                <a:gd name="T3" fmla="*/ 16 h 782"/>
                <a:gd name="T4" fmla="*/ 183 w 849"/>
                <a:gd name="T5" fmla="*/ 8 h 782"/>
                <a:gd name="T6" fmla="*/ 160 w 849"/>
                <a:gd name="T7" fmla="*/ 16 h 782"/>
                <a:gd name="T8" fmla="*/ 114 w 849"/>
                <a:gd name="T9" fmla="*/ 54 h 782"/>
                <a:gd name="T10" fmla="*/ 88 w 849"/>
                <a:gd name="T11" fmla="*/ 47 h 782"/>
                <a:gd name="T12" fmla="*/ 71 w 849"/>
                <a:gd name="T13" fmla="*/ 45 h 782"/>
                <a:gd name="T14" fmla="*/ 59 w 849"/>
                <a:gd name="T15" fmla="*/ 46 h 782"/>
                <a:gd name="T16" fmla="*/ 72 w 849"/>
                <a:gd name="T17" fmla="*/ 103 h 782"/>
                <a:gd name="T18" fmla="*/ 24 w 849"/>
                <a:gd name="T19" fmla="*/ 175 h 782"/>
                <a:gd name="T20" fmla="*/ 16 w 849"/>
                <a:gd name="T21" fmla="*/ 247 h 782"/>
                <a:gd name="T22" fmla="*/ 16 w 849"/>
                <a:gd name="T23" fmla="*/ 287 h 782"/>
                <a:gd name="T24" fmla="*/ 48 w 849"/>
                <a:gd name="T25" fmla="*/ 343 h 782"/>
                <a:gd name="T26" fmla="*/ 120 w 849"/>
                <a:gd name="T27" fmla="*/ 439 h 782"/>
                <a:gd name="T28" fmla="*/ 200 w 849"/>
                <a:gd name="T29" fmla="*/ 511 h 782"/>
                <a:gd name="T30" fmla="*/ 200 w 849"/>
                <a:gd name="T31" fmla="*/ 623 h 782"/>
                <a:gd name="T32" fmla="*/ 182 w 849"/>
                <a:gd name="T33" fmla="*/ 782 h 782"/>
                <a:gd name="T34" fmla="*/ 845 w 849"/>
                <a:gd name="T35" fmla="*/ 336 h 782"/>
                <a:gd name="T36" fmla="*/ 839 w 849"/>
                <a:gd name="T37" fmla="*/ 287 h 782"/>
                <a:gd name="T38" fmla="*/ 751 w 849"/>
                <a:gd name="T39" fmla="*/ 247 h 782"/>
                <a:gd name="T40" fmla="*/ 671 w 849"/>
                <a:gd name="T41" fmla="*/ 231 h 782"/>
                <a:gd name="T42" fmla="*/ 630 w 849"/>
                <a:gd name="T43" fmla="*/ 213 h 782"/>
                <a:gd name="T44" fmla="*/ 607 w 849"/>
                <a:gd name="T45" fmla="*/ 239 h 782"/>
                <a:gd name="T46" fmla="*/ 583 w 849"/>
                <a:gd name="T47" fmla="*/ 223 h 782"/>
                <a:gd name="T48" fmla="*/ 586 w 849"/>
                <a:gd name="T49" fmla="*/ 225 h 782"/>
                <a:gd name="T50" fmla="*/ 615 w 849"/>
                <a:gd name="T51" fmla="*/ 207 h 782"/>
                <a:gd name="T52" fmla="*/ 567 w 849"/>
                <a:gd name="T53" fmla="*/ 217 h 782"/>
                <a:gd name="T54" fmla="*/ 559 w 849"/>
                <a:gd name="T55" fmla="*/ 215 h 782"/>
                <a:gd name="T56" fmla="*/ 583 w 849"/>
                <a:gd name="T57" fmla="*/ 175 h 782"/>
                <a:gd name="T58" fmla="*/ 519 w 849"/>
                <a:gd name="T59" fmla="*/ 103 h 782"/>
                <a:gd name="T60" fmla="*/ 439 w 849"/>
                <a:gd name="T61" fmla="*/ 79 h 782"/>
                <a:gd name="T62" fmla="*/ 335 w 849"/>
                <a:gd name="T63" fmla="*/ 24 h 782"/>
                <a:gd name="T64" fmla="*/ 312 w 849"/>
                <a:gd name="T65" fmla="*/ 24 h 782"/>
                <a:gd name="T66" fmla="*/ 264 w 849"/>
                <a:gd name="T67" fmla="*/ 0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9" h="782">
                  <a:moveTo>
                    <a:pt x="264" y="0"/>
                  </a:moveTo>
                  <a:cubicBezTo>
                    <a:pt x="240" y="0"/>
                    <a:pt x="232" y="16"/>
                    <a:pt x="216" y="16"/>
                  </a:cubicBezTo>
                  <a:cubicBezTo>
                    <a:pt x="200" y="16"/>
                    <a:pt x="194" y="8"/>
                    <a:pt x="183" y="8"/>
                  </a:cubicBezTo>
                  <a:cubicBezTo>
                    <a:pt x="178" y="8"/>
                    <a:pt x="170" y="10"/>
                    <a:pt x="160" y="16"/>
                  </a:cubicBezTo>
                  <a:cubicBezTo>
                    <a:pt x="125" y="39"/>
                    <a:pt x="128" y="54"/>
                    <a:pt x="114" y="54"/>
                  </a:cubicBezTo>
                  <a:cubicBezTo>
                    <a:pt x="108" y="54"/>
                    <a:pt x="101" y="52"/>
                    <a:pt x="88" y="47"/>
                  </a:cubicBezTo>
                  <a:cubicBezTo>
                    <a:pt x="82" y="46"/>
                    <a:pt x="77" y="45"/>
                    <a:pt x="71" y="45"/>
                  </a:cubicBezTo>
                  <a:cubicBezTo>
                    <a:pt x="67" y="45"/>
                    <a:pt x="63" y="45"/>
                    <a:pt x="59" y="46"/>
                  </a:cubicBezTo>
                  <a:cubicBezTo>
                    <a:pt x="74" y="58"/>
                    <a:pt x="79" y="84"/>
                    <a:pt x="72" y="103"/>
                  </a:cubicBezTo>
                  <a:cubicBezTo>
                    <a:pt x="56" y="127"/>
                    <a:pt x="32" y="151"/>
                    <a:pt x="24" y="175"/>
                  </a:cubicBezTo>
                  <a:cubicBezTo>
                    <a:pt x="16" y="199"/>
                    <a:pt x="16" y="223"/>
                    <a:pt x="16" y="247"/>
                  </a:cubicBezTo>
                  <a:cubicBezTo>
                    <a:pt x="16" y="271"/>
                    <a:pt x="0" y="247"/>
                    <a:pt x="16" y="287"/>
                  </a:cubicBezTo>
                  <a:cubicBezTo>
                    <a:pt x="24" y="311"/>
                    <a:pt x="40" y="327"/>
                    <a:pt x="48" y="343"/>
                  </a:cubicBezTo>
                  <a:cubicBezTo>
                    <a:pt x="72" y="383"/>
                    <a:pt x="88" y="407"/>
                    <a:pt x="120" y="439"/>
                  </a:cubicBezTo>
                  <a:cubicBezTo>
                    <a:pt x="144" y="455"/>
                    <a:pt x="192" y="479"/>
                    <a:pt x="200" y="511"/>
                  </a:cubicBezTo>
                  <a:cubicBezTo>
                    <a:pt x="216" y="535"/>
                    <a:pt x="208" y="599"/>
                    <a:pt x="200" y="623"/>
                  </a:cubicBezTo>
                  <a:cubicBezTo>
                    <a:pt x="193" y="677"/>
                    <a:pt x="192" y="732"/>
                    <a:pt x="182" y="782"/>
                  </a:cubicBezTo>
                  <a:cubicBezTo>
                    <a:pt x="453" y="716"/>
                    <a:pt x="686" y="555"/>
                    <a:pt x="845" y="336"/>
                  </a:cubicBezTo>
                  <a:cubicBezTo>
                    <a:pt x="849" y="319"/>
                    <a:pt x="848" y="302"/>
                    <a:pt x="839" y="287"/>
                  </a:cubicBezTo>
                  <a:cubicBezTo>
                    <a:pt x="823" y="271"/>
                    <a:pt x="775" y="255"/>
                    <a:pt x="751" y="247"/>
                  </a:cubicBezTo>
                  <a:cubicBezTo>
                    <a:pt x="727" y="239"/>
                    <a:pt x="695" y="239"/>
                    <a:pt x="671" y="231"/>
                  </a:cubicBezTo>
                  <a:cubicBezTo>
                    <a:pt x="657" y="226"/>
                    <a:pt x="643" y="213"/>
                    <a:pt x="630" y="213"/>
                  </a:cubicBezTo>
                  <a:cubicBezTo>
                    <a:pt x="621" y="213"/>
                    <a:pt x="614" y="220"/>
                    <a:pt x="607" y="239"/>
                  </a:cubicBezTo>
                  <a:cubicBezTo>
                    <a:pt x="599" y="239"/>
                    <a:pt x="583" y="231"/>
                    <a:pt x="583" y="223"/>
                  </a:cubicBezTo>
                  <a:cubicBezTo>
                    <a:pt x="583" y="225"/>
                    <a:pt x="584" y="225"/>
                    <a:pt x="586" y="225"/>
                  </a:cubicBezTo>
                  <a:cubicBezTo>
                    <a:pt x="594" y="225"/>
                    <a:pt x="615" y="214"/>
                    <a:pt x="615" y="207"/>
                  </a:cubicBezTo>
                  <a:cubicBezTo>
                    <a:pt x="609" y="207"/>
                    <a:pt x="582" y="217"/>
                    <a:pt x="567" y="217"/>
                  </a:cubicBezTo>
                  <a:cubicBezTo>
                    <a:pt x="564" y="217"/>
                    <a:pt x="561" y="217"/>
                    <a:pt x="559" y="215"/>
                  </a:cubicBezTo>
                  <a:cubicBezTo>
                    <a:pt x="559" y="207"/>
                    <a:pt x="583" y="183"/>
                    <a:pt x="583" y="175"/>
                  </a:cubicBezTo>
                  <a:cubicBezTo>
                    <a:pt x="583" y="143"/>
                    <a:pt x="543" y="111"/>
                    <a:pt x="519" y="103"/>
                  </a:cubicBezTo>
                  <a:cubicBezTo>
                    <a:pt x="487" y="95"/>
                    <a:pt x="463" y="95"/>
                    <a:pt x="439" y="79"/>
                  </a:cubicBezTo>
                  <a:cubicBezTo>
                    <a:pt x="407" y="55"/>
                    <a:pt x="375" y="31"/>
                    <a:pt x="335" y="24"/>
                  </a:cubicBezTo>
                  <a:cubicBezTo>
                    <a:pt x="312" y="24"/>
                    <a:pt x="312" y="24"/>
                    <a:pt x="312" y="24"/>
                  </a:cubicBezTo>
                  <a:cubicBezTo>
                    <a:pt x="288" y="16"/>
                    <a:pt x="280" y="8"/>
                    <a:pt x="264" y="0"/>
                  </a:cubicBezTo>
                </a:path>
              </a:pathLst>
            </a:custGeom>
            <a:solidFill>
              <a:srgbClr val="002A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8B8F1E2-CE14-407F-B5FC-2B54D941B5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628313" y="3386138"/>
              <a:ext cx="1588" cy="93663"/>
            </a:xfrm>
            <a:custGeom>
              <a:avLst/>
              <a:gdLst>
                <a:gd name="T0" fmla="*/ 0 w 1"/>
                <a:gd name="T1" fmla="*/ 59 h 59"/>
                <a:gd name="T2" fmla="*/ 0 w 1"/>
                <a:gd name="T3" fmla="*/ 54 h 59"/>
                <a:gd name="T4" fmla="*/ 0 w 1"/>
                <a:gd name="T5" fmla="*/ 54 h 59"/>
                <a:gd name="T6" fmla="*/ 0 w 1"/>
                <a:gd name="T7" fmla="*/ 49 h 59"/>
                <a:gd name="T8" fmla="*/ 1 w 1"/>
                <a:gd name="T9" fmla="*/ 46 h 59"/>
                <a:gd name="T10" fmla="*/ 1 w 1"/>
                <a:gd name="T11" fmla="*/ 46 h 59"/>
                <a:gd name="T12" fmla="*/ 1 w 1"/>
                <a:gd name="T13" fmla="*/ 43 h 59"/>
                <a:gd name="T14" fmla="*/ 1 w 1"/>
                <a:gd name="T15" fmla="*/ 40 h 59"/>
                <a:gd name="T16" fmla="*/ 1 w 1"/>
                <a:gd name="T17" fmla="*/ 40 h 59"/>
                <a:gd name="T18" fmla="*/ 1 w 1"/>
                <a:gd name="T19" fmla="*/ 38 h 59"/>
                <a:gd name="T20" fmla="*/ 1 w 1"/>
                <a:gd name="T21" fmla="*/ 35 h 59"/>
                <a:gd name="T22" fmla="*/ 1 w 1"/>
                <a:gd name="T23" fmla="*/ 35 h 59"/>
                <a:gd name="T24" fmla="*/ 1 w 1"/>
                <a:gd name="T25" fmla="*/ 30 h 59"/>
                <a:gd name="T26" fmla="*/ 1 w 1"/>
                <a:gd name="T27" fmla="*/ 27 h 59"/>
                <a:gd name="T28" fmla="*/ 1 w 1"/>
                <a:gd name="T29" fmla="*/ 27 h 59"/>
                <a:gd name="T30" fmla="*/ 1 w 1"/>
                <a:gd name="T31" fmla="*/ 25 h 59"/>
                <a:gd name="T32" fmla="*/ 1 w 1"/>
                <a:gd name="T33" fmla="*/ 22 h 59"/>
                <a:gd name="T34" fmla="*/ 1 w 1"/>
                <a:gd name="T35" fmla="*/ 22 h 59"/>
                <a:gd name="T36" fmla="*/ 1 w 1"/>
                <a:gd name="T37" fmla="*/ 19 h 59"/>
                <a:gd name="T38" fmla="*/ 1 w 1"/>
                <a:gd name="T39" fmla="*/ 16 h 59"/>
                <a:gd name="T40" fmla="*/ 1 w 1"/>
                <a:gd name="T41" fmla="*/ 16 h 59"/>
                <a:gd name="T42" fmla="*/ 1 w 1"/>
                <a:gd name="T43" fmla="*/ 14 h 59"/>
                <a:gd name="T44" fmla="*/ 1 w 1"/>
                <a:gd name="T45" fmla="*/ 11 h 59"/>
                <a:gd name="T46" fmla="*/ 1 w 1"/>
                <a:gd name="T47" fmla="*/ 11 h 59"/>
                <a:gd name="T48" fmla="*/ 1 w 1"/>
                <a:gd name="T49" fmla="*/ 8 h 59"/>
                <a:gd name="T50" fmla="*/ 1 w 1"/>
                <a:gd name="T51" fmla="*/ 6 h 59"/>
                <a:gd name="T52" fmla="*/ 1 w 1"/>
                <a:gd name="T53" fmla="*/ 6 h 59"/>
                <a:gd name="T54" fmla="*/ 1 w 1"/>
                <a:gd name="T55" fmla="*/ 3 h 59"/>
                <a:gd name="T56" fmla="*/ 1 w 1"/>
                <a:gd name="T57" fmla="*/ 3 h 59"/>
                <a:gd name="T58" fmla="*/ 1 w 1"/>
                <a:gd name="T59" fmla="*/ 2 h 59"/>
                <a:gd name="T60" fmla="*/ 1 w 1"/>
                <a:gd name="T61" fmla="*/ 0 h 59"/>
                <a:gd name="T62" fmla="*/ 1 w 1"/>
                <a:gd name="T6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" h="59">
                  <a:moveTo>
                    <a:pt x="0" y="59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59"/>
                    <a:pt x="0" y="59"/>
                    <a:pt x="0" y="59"/>
                  </a:cubicBezTo>
                  <a:moveTo>
                    <a:pt x="0" y="54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moveTo>
                    <a:pt x="0" y="48"/>
                  </a:moveTo>
                  <a:cubicBezTo>
                    <a:pt x="0" y="48"/>
                    <a:pt x="0" y="48"/>
                    <a:pt x="0" y="49"/>
                  </a:cubicBezTo>
                  <a:cubicBezTo>
                    <a:pt x="0" y="48"/>
                    <a:pt x="0" y="48"/>
                    <a:pt x="0" y="48"/>
                  </a:cubicBezTo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moveTo>
                    <a:pt x="1" y="43"/>
                  </a:moveTo>
                  <a:cubicBezTo>
                    <a:pt x="1" y="43"/>
                    <a:pt x="1" y="43"/>
                    <a:pt x="1" y="43"/>
                  </a:cubicBezTo>
                  <a:cubicBezTo>
                    <a:pt x="1" y="43"/>
                    <a:pt x="1" y="43"/>
                    <a:pt x="1" y="43"/>
                  </a:cubicBezTo>
                  <a:moveTo>
                    <a:pt x="1" y="40"/>
                  </a:moveTo>
                  <a:cubicBezTo>
                    <a:pt x="1" y="40"/>
                    <a:pt x="1" y="41"/>
                    <a:pt x="1" y="41"/>
                  </a:cubicBezTo>
                  <a:cubicBezTo>
                    <a:pt x="1" y="41"/>
                    <a:pt x="1" y="40"/>
                    <a:pt x="1" y="40"/>
                  </a:cubicBezTo>
                  <a:moveTo>
                    <a:pt x="1" y="38"/>
                  </a:move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moveTo>
                    <a:pt x="1" y="35"/>
                  </a:move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moveTo>
                    <a:pt x="1" y="29"/>
                  </a:moveTo>
                  <a:cubicBezTo>
                    <a:pt x="1" y="30"/>
                    <a:pt x="1" y="30"/>
                    <a:pt x="1" y="30"/>
                  </a:cubicBezTo>
                  <a:cubicBezTo>
                    <a:pt x="1" y="30"/>
                    <a:pt x="1" y="30"/>
                    <a:pt x="1" y="29"/>
                  </a:cubicBezTo>
                  <a:moveTo>
                    <a:pt x="1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moveTo>
                    <a:pt x="1" y="24"/>
                  </a:moveTo>
                  <a:cubicBezTo>
                    <a:pt x="1" y="24"/>
                    <a:pt x="1" y="24"/>
                    <a:pt x="1" y="25"/>
                  </a:cubicBezTo>
                  <a:cubicBezTo>
                    <a:pt x="1" y="24"/>
                    <a:pt x="1" y="24"/>
                    <a:pt x="1" y="24"/>
                  </a:cubicBezTo>
                  <a:moveTo>
                    <a:pt x="1" y="22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moveTo>
                    <a:pt x="1" y="19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moveTo>
                    <a:pt x="1" y="16"/>
                  </a:moveTo>
                  <a:cubicBezTo>
                    <a:pt x="1" y="16"/>
                    <a:pt x="1" y="16"/>
                    <a:pt x="1" y="17"/>
                  </a:cubicBezTo>
                  <a:cubicBezTo>
                    <a:pt x="1" y="16"/>
                    <a:pt x="1" y="16"/>
                    <a:pt x="1" y="16"/>
                  </a:cubicBezTo>
                  <a:moveTo>
                    <a:pt x="1" y="13"/>
                  </a:moveTo>
                  <a:cubicBezTo>
                    <a:pt x="1" y="13"/>
                    <a:pt x="1" y="14"/>
                    <a:pt x="1" y="14"/>
                  </a:cubicBezTo>
                  <a:cubicBezTo>
                    <a:pt x="1" y="14"/>
                    <a:pt x="1" y="13"/>
                    <a:pt x="1" y="13"/>
                  </a:cubicBezTo>
                  <a:moveTo>
                    <a:pt x="1" y="11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moveTo>
                    <a:pt x="1" y="6"/>
                  </a:moveTo>
                  <a:cubicBezTo>
                    <a:pt x="1" y="7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7"/>
                    <a:pt x="1" y="6"/>
                  </a:cubicBezTo>
                  <a:moveTo>
                    <a:pt x="1" y="5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1" y="5"/>
                    <a:pt x="1" y="5"/>
                    <a:pt x="1" y="5"/>
                  </a:cubicBezTo>
                  <a:moveTo>
                    <a:pt x="1" y="3"/>
                  </a:move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moveTo>
                    <a:pt x="1" y="1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001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72861958-9E22-4A3E-9713-62858F438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4950" y="3238501"/>
              <a:ext cx="234950" cy="685800"/>
            </a:xfrm>
            <a:custGeom>
              <a:avLst/>
              <a:gdLst>
                <a:gd name="T0" fmla="*/ 144 w 148"/>
                <a:gd name="T1" fmla="*/ 0 h 432"/>
                <a:gd name="T2" fmla="*/ 136 w 148"/>
                <a:gd name="T3" fmla="*/ 14 h 432"/>
                <a:gd name="T4" fmla="*/ 112 w 148"/>
                <a:gd name="T5" fmla="*/ 62 h 432"/>
                <a:gd name="T6" fmla="*/ 64 w 148"/>
                <a:gd name="T7" fmla="*/ 102 h 432"/>
                <a:gd name="T8" fmla="*/ 40 w 148"/>
                <a:gd name="T9" fmla="*/ 150 h 432"/>
                <a:gd name="T10" fmla="*/ 16 w 148"/>
                <a:gd name="T11" fmla="*/ 174 h 432"/>
                <a:gd name="T12" fmla="*/ 16 w 148"/>
                <a:gd name="T13" fmla="*/ 262 h 432"/>
                <a:gd name="T14" fmla="*/ 24 w 148"/>
                <a:gd name="T15" fmla="*/ 349 h 432"/>
                <a:gd name="T16" fmla="*/ 88 w 148"/>
                <a:gd name="T17" fmla="*/ 421 h 432"/>
                <a:gd name="T18" fmla="*/ 100 w 148"/>
                <a:gd name="T19" fmla="*/ 432 h 432"/>
                <a:gd name="T20" fmla="*/ 147 w 148"/>
                <a:gd name="T21" fmla="*/ 152 h 432"/>
                <a:gd name="T22" fmla="*/ 147 w 148"/>
                <a:gd name="T23" fmla="*/ 152 h 432"/>
                <a:gd name="T24" fmla="*/ 147 w 148"/>
                <a:gd name="T25" fmla="*/ 147 h 432"/>
                <a:gd name="T26" fmla="*/ 147 w 148"/>
                <a:gd name="T27" fmla="*/ 147 h 432"/>
                <a:gd name="T28" fmla="*/ 147 w 148"/>
                <a:gd name="T29" fmla="*/ 142 h 432"/>
                <a:gd name="T30" fmla="*/ 147 w 148"/>
                <a:gd name="T31" fmla="*/ 141 h 432"/>
                <a:gd name="T32" fmla="*/ 148 w 148"/>
                <a:gd name="T33" fmla="*/ 139 h 432"/>
                <a:gd name="T34" fmla="*/ 148 w 148"/>
                <a:gd name="T35" fmla="*/ 139 h 432"/>
                <a:gd name="T36" fmla="*/ 148 w 148"/>
                <a:gd name="T37" fmla="*/ 136 h 432"/>
                <a:gd name="T38" fmla="*/ 148 w 148"/>
                <a:gd name="T39" fmla="*/ 136 h 432"/>
                <a:gd name="T40" fmla="*/ 148 w 148"/>
                <a:gd name="T41" fmla="*/ 134 h 432"/>
                <a:gd name="T42" fmla="*/ 148 w 148"/>
                <a:gd name="T43" fmla="*/ 133 h 432"/>
                <a:gd name="T44" fmla="*/ 148 w 148"/>
                <a:gd name="T45" fmla="*/ 131 h 432"/>
                <a:gd name="T46" fmla="*/ 148 w 148"/>
                <a:gd name="T47" fmla="*/ 131 h 432"/>
                <a:gd name="T48" fmla="*/ 148 w 148"/>
                <a:gd name="T49" fmla="*/ 128 h 432"/>
                <a:gd name="T50" fmla="*/ 148 w 148"/>
                <a:gd name="T51" fmla="*/ 128 h 432"/>
                <a:gd name="T52" fmla="*/ 148 w 148"/>
                <a:gd name="T53" fmla="*/ 123 h 432"/>
                <a:gd name="T54" fmla="*/ 148 w 148"/>
                <a:gd name="T55" fmla="*/ 122 h 432"/>
                <a:gd name="T56" fmla="*/ 148 w 148"/>
                <a:gd name="T57" fmla="*/ 120 h 432"/>
                <a:gd name="T58" fmla="*/ 148 w 148"/>
                <a:gd name="T59" fmla="*/ 120 h 432"/>
                <a:gd name="T60" fmla="*/ 148 w 148"/>
                <a:gd name="T61" fmla="*/ 118 h 432"/>
                <a:gd name="T62" fmla="*/ 148 w 148"/>
                <a:gd name="T63" fmla="*/ 117 h 432"/>
                <a:gd name="T64" fmla="*/ 148 w 148"/>
                <a:gd name="T65" fmla="*/ 115 h 432"/>
                <a:gd name="T66" fmla="*/ 148 w 148"/>
                <a:gd name="T67" fmla="*/ 115 h 432"/>
                <a:gd name="T68" fmla="*/ 148 w 148"/>
                <a:gd name="T69" fmla="*/ 112 h 432"/>
                <a:gd name="T70" fmla="*/ 148 w 148"/>
                <a:gd name="T71" fmla="*/ 112 h 432"/>
                <a:gd name="T72" fmla="*/ 148 w 148"/>
                <a:gd name="T73" fmla="*/ 110 h 432"/>
                <a:gd name="T74" fmla="*/ 148 w 148"/>
                <a:gd name="T75" fmla="*/ 109 h 432"/>
                <a:gd name="T76" fmla="*/ 148 w 148"/>
                <a:gd name="T77" fmla="*/ 107 h 432"/>
                <a:gd name="T78" fmla="*/ 148 w 148"/>
                <a:gd name="T79" fmla="*/ 106 h 432"/>
                <a:gd name="T80" fmla="*/ 148 w 148"/>
                <a:gd name="T81" fmla="*/ 104 h 432"/>
                <a:gd name="T82" fmla="*/ 148 w 148"/>
                <a:gd name="T83" fmla="*/ 104 h 432"/>
                <a:gd name="T84" fmla="*/ 148 w 148"/>
                <a:gd name="T85" fmla="*/ 101 h 432"/>
                <a:gd name="T86" fmla="*/ 148 w 148"/>
                <a:gd name="T87" fmla="*/ 99 h 432"/>
                <a:gd name="T88" fmla="*/ 148 w 148"/>
                <a:gd name="T89" fmla="*/ 99 h 432"/>
                <a:gd name="T90" fmla="*/ 148 w 148"/>
                <a:gd name="T91" fmla="*/ 98 h 432"/>
                <a:gd name="T92" fmla="*/ 148 w 148"/>
                <a:gd name="T93" fmla="*/ 97 h 432"/>
                <a:gd name="T94" fmla="*/ 148 w 148"/>
                <a:gd name="T95" fmla="*/ 96 h 432"/>
                <a:gd name="T96" fmla="*/ 148 w 148"/>
                <a:gd name="T97" fmla="*/ 95 h 432"/>
                <a:gd name="T98" fmla="*/ 148 w 148"/>
                <a:gd name="T99" fmla="*/ 94 h 432"/>
                <a:gd name="T100" fmla="*/ 148 w 148"/>
                <a:gd name="T101" fmla="*/ 93 h 432"/>
                <a:gd name="T102" fmla="*/ 148 w 148"/>
                <a:gd name="T103" fmla="*/ 93 h 432"/>
                <a:gd name="T104" fmla="*/ 144 w 148"/>
                <a:gd name="T105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8" h="432">
                  <a:moveTo>
                    <a:pt x="144" y="0"/>
                  </a:moveTo>
                  <a:cubicBezTo>
                    <a:pt x="141" y="5"/>
                    <a:pt x="138" y="10"/>
                    <a:pt x="136" y="14"/>
                  </a:cubicBezTo>
                  <a:cubicBezTo>
                    <a:pt x="128" y="38"/>
                    <a:pt x="128" y="46"/>
                    <a:pt x="112" y="62"/>
                  </a:cubicBezTo>
                  <a:cubicBezTo>
                    <a:pt x="96" y="78"/>
                    <a:pt x="80" y="86"/>
                    <a:pt x="64" y="102"/>
                  </a:cubicBezTo>
                  <a:cubicBezTo>
                    <a:pt x="48" y="118"/>
                    <a:pt x="48" y="134"/>
                    <a:pt x="40" y="150"/>
                  </a:cubicBezTo>
                  <a:cubicBezTo>
                    <a:pt x="16" y="174"/>
                    <a:pt x="16" y="174"/>
                    <a:pt x="16" y="174"/>
                  </a:cubicBezTo>
                  <a:cubicBezTo>
                    <a:pt x="0" y="198"/>
                    <a:pt x="16" y="238"/>
                    <a:pt x="16" y="262"/>
                  </a:cubicBezTo>
                  <a:cubicBezTo>
                    <a:pt x="16" y="293"/>
                    <a:pt x="8" y="317"/>
                    <a:pt x="24" y="349"/>
                  </a:cubicBezTo>
                  <a:cubicBezTo>
                    <a:pt x="40" y="373"/>
                    <a:pt x="64" y="397"/>
                    <a:pt x="88" y="421"/>
                  </a:cubicBezTo>
                  <a:cubicBezTo>
                    <a:pt x="92" y="425"/>
                    <a:pt x="96" y="428"/>
                    <a:pt x="100" y="432"/>
                  </a:cubicBezTo>
                  <a:cubicBezTo>
                    <a:pt x="127" y="343"/>
                    <a:pt x="143" y="249"/>
                    <a:pt x="147" y="152"/>
                  </a:cubicBezTo>
                  <a:cubicBezTo>
                    <a:pt x="147" y="152"/>
                    <a:pt x="147" y="152"/>
                    <a:pt x="147" y="152"/>
                  </a:cubicBezTo>
                  <a:cubicBezTo>
                    <a:pt x="147" y="150"/>
                    <a:pt x="147" y="149"/>
                    <a:pt x="147" y="147"/>
                  </a:cubicBezTo>
                  <a:cubicBezTo>
                    <a:pt x="147" y="147"/>
                    <a:pt x="147" y="147"/>
                    <a:pt x="147" y="147"/>
                  </a:cubicBezTo>
                  <a:cubicBezTo>
                    <a:pt x="147" y="145"/>
                    <a:pt x="147" y="143"/>
                    <a:pt x="147" y="142"/>
                  </a:cubicBezTo>
                  <a:cubicBezTo>
                    <a:pt x="147" y="141"/>
                    <a:pt x="147" y="141"/>
                    <a:pt x="147" y="141"/>
                  </a:cubicBezTo>
                  <a:cubicBezTo>
                    <a:pt x="147" y="141"/>
                    <a:pt x="148" y="140"/>
                    <a:pt x="148" y="139"/>
                  </a:cubicBezTo>
                  <a:cubicBezTo>
                    <a:pt x="148" y="139"/>
                    <a:pt x="148" y="139"/>
                    <a:pt x="148" y="139"/>
                  </a:cubicBezTo>
                  <a:cubicBezTo>
                    <a:pt x="148" y="138"/>
                    <a:pt x="148" y="137"/>
                    <a:pt x="148" y="136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8" y="135"/>
                    <a:pt x="148" y="134"/>
                    <a:pt x="148" y="134"/>
                  </a:cubicBezTo>
                  <a:cubicBezTo>
                    <a:pt x="148" y="134"/>
                    <a:pt x="148" y="133"/>
                    <a:pt x="148" y="133"/>
                  </a:cubicBezTo>
                  <a:cubicBezTo>
                    <a:pt x="148" y="132"/>
                    <a:pt x="148" y="132"/>
                    <a:pt x="148" y="131"/>
                  </a:cubicBezTo>
                  <a:cubicBezTo>
                    <a:pt x="148" y="131"/>
                    <a:pt x="148" y="131"/>
                    <a:pt x="148" y="131"/>
                  </a:cubicBezTo>
                  <a:cubicBezTo>
                    <a:pt x="148" y="130"/>
                    <a:pt x="148" y="129"/>
                    <a:pt x="148" y="128"/>
                  </a:cubicBezTo>
                  <a:cubicBezTo>
                    <a:pt x="148" y="128"/>
                    <a:pt x="148" y="128"/>
                    <a:pt x="148" y="128"/>
                  </a:cubicBezTo>
                  <a:cubicBezTo>
                    <a:pt x="148" y="126"/>
                    <a:pt x="148" y="125"/>
                    <a:pt x="148" y="123"/>
                  </a:cubicBezTo>
                  <a:cubicBezTo>
                    <a:pt x="148" y="123"/>
                    <a:pt x="148" y="123"/>
                    <a:pt x="148" y="122"/>
                  </a:cubicBezTo>
                  <a:cubicBezTo>
                    <a:pt x="148" y="122"/>
                    <a:pt x="148" y="121"/>
                    <a:pt x="148" y="120"/>
                  </a:cubicBezTo>
                  <a:cubicBezTo>
                    <a:pt x="148" y="120"/>
                    <a:pt x="148" y="120"/>
                    <a:pt x="148" y="120"/>
                  </a:cubicBezTo>
                  <a:cubicBezTo>
                    <a:pt x="148" y="119"/>
                    <a:pt x="148" y="118"/>
                    <a:pt x="148" y="118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6"/>
                    <a:pt x="148" y="116"/>
                    <a:pt x="148" y="115"/>
                  </a:cubicBezTo>
                  <a:cubicBezTo>
                    <a:pt x="148" y="115"/>
                    <a:pt x="148" y="115"/>
                    <a:pt x="148" y="115"/>
                  </a:cubicBezTo>
                  <a:cubicBezTo>
                    <a:pt x="148" y="114"/>
                    <a:pt x="148" y="113"/>
                    <a:pt x="148" y="112"/>
                  </a:cubicBezTo>
                  <a:cubicBezTo>
                    <a:pt x="148" y="112"/>
                    <a:pt x="148" y="112"/>
                    <a:pt x="148" y="112"/>
                  </a:cubicBezTo>
                  <a:cubicBezTo>
                    <a:pt x="148" y="111"/>
                    <a:pt x="148" y="110"/>
                    <a:pt x="148" y="110"/>
                  </a:cubicBezTo>
                  <a:cubicBezTo>
                    <a:pt x="148" y="109"/>
                    <a:pt x="148" y="109"/>
                    <a:pt x="148" y="109"/>
                  </a:cubicBezTo>
                  <a:cubicBezTo>
                    <a:pt x="148" y="108"/>
                    <a:pt x="148" y="107"/>
                    <a:pt x="148" y="107"/>
                  </a:cubicBezTo>
                  <a:cubicBezTo>
                    <a:pt x="148" y="107"/>
                    <a:pt x="148" y="106"/>
                    <a:pt x="148" y="106"/>
                  </a:cubicBezTo>
                  <a:cubicBezTo>
                    <a:pt x="148" y="106"/>
                    <a:pt x="148" y="105"/>
                    <a:pt x="148" y="104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48" y="103"/>
                    <a:pt x="148" y="102"/>
                    <a:pt x="148" y="101"/>
                  </a:cubicBezTo>
                  <a:cubicBezTo>
                    <a:pt x="148" y="101"/>
                    <a:pt x="148" y="100"/>
                    <a:pt x="148" y="99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48" y="98"/>
                    <a:pt x="148" y="98"/>
                    <a:pt x="148" y="98"/>
                  </a:cubicBezTo>
                  <a:cubicBezTo>
                    <a:pt x="148" y="97"/>
                    <a:pt x="148" y="97"/>
                    <a:pt x="148" y="97"/>
                  </a:cubicBezTo>
                  <a:cubicBezTo>
                    <a:pt x="148" y="97"/>
                    <a:pt x="148" y="96"/>
                    <a:pt x="148" y="96"/>
                  </a:cubicBezTo>
                  <a:cubicBezTo>
                    <a:pt x="148" y="96"/>
                    <a:pt x="148" y="95"/>
                    <a:pt x="148" y="95"/>
                  </a:cubicBezTo>
                  <a:cubicBezTo>
                    <a:pt x="148" y="95"/>
                    <a:pt x="148" y="95"/>
                    <a:pt x="148" y="94"/>
                  </a:cubicBezTo>
                  <a:cubicBezTo>
                    <a:pt x="148" y="94"/>
                    <a:pt x="148" y="94"/>
                    <a:pt x="148" y="93"/>
                  </a:cubicBezTo>
                  <a:cubicBezTo>
                    <a:pt x="148" y="93"/>
                    <a:pt x="148" y="93"/>
                    <a:pt x="148" y="93"/>
                  </a:cubicBezTo>
                  <a:cubicBezTo>
                    <a:pt x="148" y="62"/>
                    <a:pt x="146" y="31"/>
                    <a:pt x="144" y="0"/>
                  </a:cubicBezTo>
                </a:path>
              </a:pathLst>
            </a:custGeom>
            <a:solidFill>
              <a:srgbClr val="0026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40E7278B-6656-450B-89F8-C2C817F04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8925" y="2051051"/>
              <a:ext cx="4275138" cy="2516188"/>
            </a:xfrm>
            <a:custGeom>
              <a:avLst/>
              <a:gdLst>
                <a:gd name="T0" fmla="*/ 2513 w 2693"/>
                <a:gd name="T1" fmla="*/ 939 h 1587"/>
                <a:gd name="T2" fmla="*/ 2512 w 2693"/>
                <a:gd name="T3" fmla="*/ 983 h 1587"/>
                <a:gd name="T4" fmla="*/ 2604 w 2693"/>
                <a:gd name="T5" fmla="*/ 1143 h 1587"/>
                <a:gd name="T6" fmla="*/ 2613 w 2693"/>
                <a:gd name="T7" fmla="*/ 1377 h 1587"/>
                <a:gd name="T8" fmla="*/ 2430 w 2693"/>
                <a:gd name="T9" fmla="*/ 1522 h 1587"/>
                <a:gd name="T10" fmla="*/ 2087 w 2693"/>
                <a:gd name="T11" fmla="*/ 1557 h 1587"/>
                <a:gd name="T12" fmla="*/ 1123 w 2693"/>
                <a:gd name="T13" fmla="*/ 1294 h 1587"/>
                <a:gd name="T14" fmla="*/ 295 w 2693"/>
                <a:gd name="T15" fmla="*/ 733 h 1587"/>
                <a:gd name="T16" fmla="*/ 99 w 2693"/>
                <a:gd name="T17" fmla="*/ 450 h 1587"/>
                <a:gd name="T18" fmla="*/ 90 w 2693"/>
                <a:gd name="T19" fmla="*/ 216 h 1587"/>
                <a:gd name="T20" fmla="*/ 273 w 2693"/>
                <a:gd name="T21" fmla="*/ 71 h 1587"/>
                <a:gd name="T22" fmla="*/ 543 w 2693"/>
                <a:gd name="T23" fmla="*/ 33 h 1587"/>
                <a:gd name="T24" fmla="*/ 545 w 2693"/>
                <a:gd name="T25" fmla="*/ 33 h 1587"/>
                <a:gd name="T26" fmla="*/ 573 w 2693"/>
                <a:gd name="T27" fmla="*/ 6 h 1587"/>
                <a:gd name="T28" fmla="*/ 65 w 2693"/>
                <a:gd name="T29" fmla="*/ 204 h 1587"/>
                <a:gd name="T30" fmla="*/ 275 w 2693"/>
                <a:gd name="T31" fmla="*/ 752 h 1587"/>
                <a:gd name="T32" fmla="*/ 1111 w 2693"/>
                <a:gd name="T33" fmla="*/ 1319 h 1587"/>
                <a:gd name="T34" fmla="*/ 2086 w 2693"/>
                <a:gd name="T35" fmla="*/ 1585 h 1587"/>
                <a:gd name="T36" fmla="*/ 2160 w 2693"/>
                <a:gd name="T37" fmla="*/ 1587 h 1587"/>
                <a:gd name="T38" fmla="*/ 2638 w 2693"/>
                <a:gd name="T39" fmla="*/ 1388 h 1587"/>
                <a:gd name="T40" fmla="*/ 2513 w 2693"/>
                <a:gd name="T41" fmla="*/ 939 h 1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93" h="1587">
                  <a:moveTo>
                    <a:pt x="2513" y="939"/>
                  </a:moveTo>
                  <a:cubicBezTo>
                    <a:pt x="2513" y="955"/>
                    <a:pt x="2513" y="969"/>
                    <a:pt x="2512" y="983"/>
                  </a:cubicBezTo>
                  <a:cubicBezTo>
                    <a:pt x="2553" y="1038"/>
                    <a:pt x="2583" y="1092"/>
                    <a:pt x="2604" y="1143"/>
                  </a:cubicBezTo>
                  <a:cubicBezTo>
                    <a:pt x="2640" y="1233"/>
                    <a:pt x="2643" y="1311"/>
                    <a:pt x="2613" y="1377"/>
                  </a:cubicBezTo>
                  <a:cubicBezTo>
                    <a:pt x="2583" y="1442"/>
                    <a:pt x="2521" y="1491"/>
                    <a:pt x="2430" y="1522"/>
                  </a:cubicBezTo>
                  <a:cubicBezTo>
                    <a:pt x="2339" y="1552"/>
                    <a:pt x="2224" y="1564"/>
                    <a:pt x="2087" y="1557"/>
                  </a:cubicBezTo>
                  <a:cubicBezTo>
                    <a:pt x="1804" y="1543"/>
                    <a:pt x="1461" y="1449"/>
                    <a:pt x="1123" y="1294"/>
                  </a:cubicBezTo>
                  <a:cubicBezTo>
                    <a:pt x="784" y="1138"/>
                    <a:pt x="490" y="939"/>
                    <a:pt x="295" y="733"/>
                  </a:cubicBezTo>
                  <a:cubicBezTo>
                    <a:pt x="200" y="633"/>
                    <a:pt x="135" y="538"/>
                    <a:pt x="99" y="450"/>
                  </a:cubicBezTo>
                  <a:cubicBezTo>
                    <a:pt x="63" y="360"/>
                    <a:pt x="60" y="281"/>
                    <a:pt x="90" y="216"/>
                  </a:cubicBezTo>
                  <a:cubicBezTo>
                    <a:pt x="120" y="151"/>
                    <a:pt x="182" y="102"/>
                    <a:pt x="273" y="71"/>
                  </a:cubicBezTo>
                  <a:cubicBezTo>
                    <a:pt x="347" y="46"/>
                    <a:pt x="437" y="33"/>
                    <a:pt x="543" y="33"/>
                  </a:cubicBezTo>
                  <a:cubicBezTo>
                    <a:pt x="543" y="33"/>
                    <a:pt x="544" y="33"/>
                    <a:pt x="545" y="33"/>
                  </a:cubicBezTo>
                  <a:cubicBezTo>
                    <a:pt x="554" y="24"/>
                    <a:pt x="563" y="15"/>
                    <a:pt x="573" y="6"/>
                  </a:cubicBezTo>
                  <a:cubicBezTo>
                    <a:pt x="306" y="0"/>
                    <a:pt x="127" y="70"/>
                    <a:pt x="65" y="204"/>
                  </a:cubicBezTo>
                  <a:cubicBezTo>
                    <a:pt x="0" y="346"/>
                    <a:pt x="74" y="541"/>
                    <a:pt x="275" y="752"/>
                  </a:cubicBezTo>
                  <a:cubicBezTo>
                    <a:pt x="472" y="960"/>
                    <a:pt x="769" y="1161"/>
                    <a:pt x="1111" y="1319"/>
                  </a:cubicBezTo>
                  <a:cubicBezTo>
                    <a:pt x="1453" y="1476"/>
                    <a:pt x="1799" y="1571"/>
                    <a:pt x="2086" y="1585"/>
                  </a:cubicBezTo>
                  <a:cubicBezTo>
                    <a:pt x="2111" y="1586"/>
                    <a:pt x="2136" y="1587"/>
                    <a:pt x="2160" y="1587"/>
                  </a:cubicBezTo>
                  <a:cubicBezTo>
                    <a:pt x="2410" y="1587"/>
                    <a:pt x="2579" y="1517"/>
                    <a:pt x="2638" y="1388"/>
                  </a:cubicBezTo>
                  <a:cubicBezTo>
                    <a:pt x="2693" y="1269"/>
                    <a:pt x="2649" y="1112"/>
                    <a:pt x="2513" y="939"/>
                  </a:cubicBezTo>
                  <a:close/>
                </a:path>
              </a:pathLst>
            </a:custGeom>
            <a:solidFill>
              <a:srgbClr val="0050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31BDC242-63F7-4E10-95AD-833DDA1D7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64275" y="1993901"/>
              <a:ext cx="5041900" cy="3344863"/>
            </a:xfrm>
            <a:custGeom>
              <a:avLst/>
              <a:gdLst>
                <a:gd name="T0" fmla="*/ 3139 w 3176"/>
                <a:gd name="T1" fmla="*/ 1507 h 2110"/>
                <a:gd name="T2" fmla="*/ 2921 w 3176"/>
                <a:gd name="T3" fmla="*/ 1119 h 2110"/>
                <a:gd name="T4" fmla="*/ 2749 w 3176"/>
                <a:gd name="T5" fmla="*/ 930 h 2110"/>
                <a:gd name="T6" fmla="*/ 2747 w 3176"/>
                <a:gd name="T7" fmla="*/ 967 h 2110"/>
                <a:gd name="T8" fmla="*/ 2900 w 3176"/>
                <a:gd name="T9" fmla="*/ 1136 h 2110"/>
                <a:gd name="T10" fmla="*/ 3112 w 3176"/>
                <a:gd name="T11" fmla="*/ 1515 h 2110"/>
                <a:gd name="T12" fmla="*/ 3097 w 3176"/>
                <a:gd name="T13" fmla="*/ 1830 h 2110"/>
                <a:gd name="T14" fmla="*/ 2849 w 3176"/>
                <a:gd name="T15" fmla="*/ 2027 h 2110"/>
                <a:gd name="T16" fmla="*/ 2418 w 3176"/>
                <a:gd name="T17" fmla="*/ 2075 h 2110"/>
                <a:gd name="T18" fmla="*/ 1246 w 3176"/>
                <a:gd name="T19" fmla="*/ 1723 h 2110"/>
                <a:gd name="T20" fmla="*/ 277 w 3176"/>
                <a:gd name="T21" fmla="*/ 975 h 2110"/>
                <a:gd name="T22" fmla="*/ 64 w 3176"/>
                <a:gd name="T23" fmla="*/ 597 h 2110"/>
                <a:gd name="T24" fmla="*/ 80 w 3176"/>
                <a:gd name="T25" fmla="*/ 281 h 2110"/>
                <a:gd name="T26" fmla="*/ 327 w 3176"/>
                <a:gd name="T27" fmla="*/ 85 h 2110"/>
                <a:gd name="T28" fmla="*/ 739 w 3176"/>
                <a:gd name="T29" fmla="*/ 36 h 2110"/>
                <a:gd name="T30" fmla="*/ 759 w 3176"/>
                <a:gd name="T31" fmla="*/ 37 h 2110"/>
                <a:gd name="T32" fmla="*/ 810 w 3176"/>
                <a:gd name="T33" fmla="*/ 41 h 2110"/>
                <a:gd name="T34" fmla="*/ 839 w 3176"/>
                <a:gd name="T35" fmla="*/ 15 h 2110"/>
                <a:gd name="T36" fmla="*/ 760 w 3176"/>
                <a:gd name="T37" fmla="*/ 9 h 2110"/>
                <a:gd name="T38" fmla="*/ 318 w 3176"/>
                <a:gd name="T39" fmla="*/ 59 h 2110"/>
                <a:gd name="T40" fmla="*/ 55 w 3176"/>
                <a:gd name="T41" fmla="*/ 268 h 2110"/>
                <a:gd name="T42" fmla="*/ 38 w 3176"/>
                <a:gd name="T43" fmla="*/ 605 h 2110"/>
                <a:gd name="T44" fmla="*/ 255 w 3176"/>
                <a:gd name="T45" fmla="*/ 993 h 2110"/>
                <a:gd name="T46" fmla="*/ 1233 w 3176"/>
                <a:gd name="T47" fmla="*/ 1748 h 2110"/>
                <a:gd name="T48" fmla="*/ 2416 w 3176"/>
                <a:gd name="T49" fmla="*/ 2102 h 2110"/>
                <a:gd name="T50" fmla="*/ 2436 w 3176"/>
                <a:gd name="T51" fmla="*/ 2103 h 2110"/>
                <a:gd name="T52" fmla="*/ 2859 w 3176"/>
                <a:gd name="T53" fmla="*/ 2053 h 2110"/>
                <a:gd name="T54" fmla="*/ 3122 w 3176"/>
                <a:gd name="T55" fmla="*/ 1843 h 2110"/>
                <a:gd name="T56" fmla="*/ 3139 w 3176"/>
                <a:gd name="T57" fmla="*/ 1507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76" h="2110">
                  <a:moveTo>
                    <a:pt x="3139" y="1507"/>
                  </a:moveTo>
                  <a:cubicBezTo>
                    <a:pt x="3103" y="1385"/>
                    <a:pt x="3030" y="1254"/>
                    <a:pt x="2921" y="1119"/>
                  </a:cubicBezTo>
                  <a:cubicBezTo>
                    <a:pt x="2870" y="1055"/>
                    <a:pt x="2813" y="992"/>
                    <a:pt x="2749" y="930"/>
                  </a:cubicBezTo>
                  <a:cubicBezTo>
                    <a:pt x="2749" y="943"/>
                    <a:pt x="2748" y="955"/>
                    <a:pt x="2747" y="967"/>
                  </a:cubicBezTo>
                  <a:cubicBezTo>
                    <a:pt x="2803" y="1023"/>
                    <a:pt x="2854" y="1079"/>
                    <a:pt x="2900" y="1136"/>
                  </a:cubicBezTo>
                  <a:cubicBezTo>
                    <a:pt x="3006" y="1269"/>
                    <a:pt x="3078" y="1396"/>
                    <a:pt x="3112" y="1515"/>
                  </a:cubicBezTo>
                  <a:cubicBezTo>
                    <a:pt x="3148" y="1636"/>
                    <a:pt x="3142" y="1742"/>
                    <a:pt x="3097" y="1830"/>
                  </a:cubicBezTo>
                  <a:cubicBezTo>
                    <a:pt x="3052" y="1919"/>
                    <a:pt x="2968" y="1985"/>
                    <a:pt x="2849" y="2027"/>
                  </a:cubicBezTo>
                  <a:cubicBezTo>
                    <a:pt x="2733" y="2068"/>
                    <a:pt x="2588" y="2084"/>
                    <a:pt x="2418" y="2075"/>
                  </a:cubicBezTo>
                  <a:cubicBezTo>
                    <a:pt x="2067" y="2056"/>
                    <a:pt x="1650" y="1931"/>
                    <a:pt x="1246" y="1723"/>
                  </a:cubicBezTo>
                  <a:cubicBezTo>
                    <a:pt x="841" y="1515"/>
                    <a:pt x="497" y="1250"/>
                    <a:pt x="277" y="975"/>
                  </a:cubicBezTo>
                  <a:cubicBezTo>
                    <a:pt x="170" y="843"/>
                    <a:pt x="99" y="715"/>
                    <a:pt x="64" y="597"/>
                  </a:cubicBezTo>
                  <a:cubicBezTo>
                    <a:pt x="29" y="476"/>
                    <a:pt x="34" y="370"/>
                    <a:pt x="80" y="281"/>
                  </a:cubicBezTo>
                  <a:cubicBezTo>
                    <a:pt x="125" y="193"/>
                    <a:pt x="208" y="127"/>
                    <a:pt x="327" y="85"/>
                  </a:cubicBezTo>
                  <a:cubicBezTo>
                    <a:pt x="439" y="45"/>
                    <a:pt x="578" y="29"/>
                    <a:pt x="739" y="36"/>
                  </a:cubicBezTo>
                  <a:cubicBezTo>
                    <a:pt x="746" y="36"/>
                    <a:pt x="752" y="37"/>
                    <a:pt x="759" y="37"/>
                  </a:cubicBezTo>
                  <a:cubicBezTo>
                    <a:pt x="776" y="38"/>
                    <a:pt x="793" y="39"/>
                    <a:pt x="810" y="41"/>
                  </a:cubicBezTo>
                  <a:cubicBezTo>
                    <a:pt x="820" y="32"/>
                    <a:pt x="829" y="23"/>
                    <a:pt x="839" y="15"/>
                  </a:cubicBezTo>
                  <a:cubicBezTo>
                    <a:pt x="812" y="13"/>
                    <a:pt x="786" y="11"/>
                    <a:pt x="760" y="9"/>
                  </a:cubicBezTo>
                  <a:cubicBezTo>
                    <a:pt x="587" y="0"/>
                    <a:pt x="438" y="16"/>
                    <a:pt x="318" y="59"/>
                  </a:cubicBezTo>
                  <a:cubicBezTo>
                    <a:pt x="192" y="103"/>
                    <a:pt x="104" y="173"/>
                    <a:pt x="55" y="268"/>
                  </a:cubicBezTo>
                  <a:cubicBezTo>
                    <a:pt x="6" y="363"/>
                    <a:pt x="0" y="477"/>
                    <a:pt x="38" y="605"/>
                  </a:cubicBezTo>
                  <a:cubicBezTo>
                    <a:pt x="73" y="727"/>
                    <a:pt x="146" y="857"/>
                    <a:pt x="255" y="993"/>
                  </a:cubicBezTo>
                  <a:cubicBezTo>
                    <a:pt x="478" y="1270"/>
                    <a:pt x="825" y="1538"/>
                    <a:pt x="1233" y="1748"/>
                  </a:cubicBezTo>
                  <a:cubicBezTo>
                    <a:pt x="1641" y="1957"/>
                    <a:pt x="2061" y="2083"/>
                    <a:pt x="2416" y="2102"/>
                  </a:cubicBezTo>
                  <a:cubicBezTo>
                    <a:pt x="2423" y="2103"/>
                    <a:pt x="2430" y="2103"/>
                    <a:pt x="2436" y="2103"/>
                  </a:cubicBezTo>
                  <a:cubicBezTo>
                    <a:pt x="2601" y="2110"/>
                    <a:pt x="2743" y="2093"/>
                    <a:pt x="2859" y="2053"/>
                  </a:cubicBezTo>
                  <a:cubicBezTo>
                    <a:pt x="2984" y="2009"/>
                    <a:pt x="3073" y="1938"/>
                    <a:pt x="3122" y="1843"/>
                  </a:cubicBezTo>
                  <a:cubicBezTo>
                    <a:pt x="3170" y="1748"/>
                    <a:pt x="3176" y="1635"/>
                    <a:pt x="3139" y="1507"/>
                  </a:cubicBezTo>
                  <a:close/>
                </a:path>
              </a:pathLst>
            </a:custGeom>
            <a:solidFill>
              <a:srgbClr val="0050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椭圆 36">
              <a:extLst>
                <a:ext uri="{FF2B5EF4-FFF2-40B4-BE49-F238E27FC236}">
                  <a16:creationId xmlns:a16="http://schemas.microsoft.com/office/drawing/2014/main" id="{FD0B127B-E17B-4431-A5B0-B648659AF4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65875" y="3197226"/>
              <a:ext cx="300038" cy="298450"/>
            </a:xfrm>
            <a:prstGeom prst="ellipse">
              <a:avLst/>
            </a:prstGeom>
            <a:solidFill>
              <a:srgbClr val="005E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3C49F78B-F878-47E4-A630-A5E342930C3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110913" y="4225926"/>
              <a:ext cx="196850" cy="198438"/>
            </a:xfrm>
            <a:prstGeom prst="ellipse">
              <a:avLst/>
            </a:prstGeom>
            <a:solidFill>
              <a:srgbClr val="005E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椭圆 38">
              <a:extLst>
                <a:ext uri="{FF2B5EF4-FFF2-40B4-BE49-F238E27FC236}">
                  <a16:creationId xmlns:a16="http://schemas.microsoft.com/office/drawing/2014/main" id="{7B464F64-DEBC-4E68-A086-8E4E6EAFE0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440988" y="4432301"/>
              <a:ext cx="114300" cy="114300"/>
            </a:xfrm>
            <a:prstGeom prst="ellipse">
              <a:avLst/>
            </a:prstGeom>
            <a:solidFill>
              <a:srgbClr val="005E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655327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文本框 21"/>
          <p:cNvSpPr txBox="1"/>
          <p:nvPr/>
        </p:nvSpPr>
        <p:spPr>
          <a:xfrm>
            <a:off x="6505436" y="2494850"/>
            <a:ext cx="1218924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gradFill flip="none" rotWithShape="1">
                  <a:gsLst>
                    <a:gs pos="74000">
                      <a:schemeClr val="accent1">
                        <a:lumMod val="75000"/>
                      </a:schemeClr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  <a:gs pos="27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0"/>
                  <a:tileRect/>
                </a:gra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>
                <a:solidFill>
                  <a:schemeClr val="accent1"/>
                </a:solidFill>
                <a:effectLst>
                  <a:outerShdw blurRad="127000" dir="5400000" algn="t" rotWithShape="0">
                    <a:schemeClr val="accent1">
                      <a:alpha val="20000"/>
                    </a:schemeClr>
                  </a:outerShdw>
                </a:effectLst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02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7750294" y="2579429"/>
            <a:ext cx="2050533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gradFill flip="none" rotWithShape="1">
                  <a:gsLst>
                    <a:gs pos="74000">
                      <a:schemeClr val="accent1">
                        <a:lumMod val="75000"/>
                      </a:schemeClr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  <a:gs pos="27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0"/>
                  <a:tileRect/>
                </a:gra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dirty="0">
                <a:solidFill>
                  <a:schemeClr val="accent1"/>
                </a:solidFill>
                <a:effectLst/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原型展示</a:t>
            </a:r>
          </a:p>
        </p:txBody>
      </p:sp>
      <p:sp>
        <p:nvSpPr>
          <p:cNvPr id="24" name="文本框 23"/>
          <p:cNvSpPr txBox="1"/>
          <p:nvPr/>
        </p:nvSpPr>
        <p:spPr>
          <a:xfrm>
            <a:off x="7750294" y="3084583"/>
            <a:ext cx="1621068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gradFill flip="none" rotWithShape="1">
                  <a:gsLst>
                    <a:gs pos="74000">
                      <a:schemeClr val="accent1">
                        <a:lumMod val="75000"/>
                      </a:schemeClr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  <a:gs pos="27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0"/>
                  <a:tileRect/>
                </a:gra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dist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lang="en-US" altLang="zh-CN" sz="1200" b="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等线" panose="02010600030101010101" pitchFamily="2" charset="-122"/>
                <a:ea typeface="等线" panose="02010600030101010101" pitchFamily="2" charset="-122"/>
                <a:cs typeface="微软雅黑" panose="020B0503020204020204" pitchFamily="34" charset="-122"/>
              </a:rPr>
              <a:t>Prototype Display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6505436" y="3815876"/>
            <a:ext cx="1160673" cy="923330"/>
          </a:xfrm>
          <a:prstGeom prst="rect">
            <a:avLst/>
          </a:prstGeom>
        </p:spPr>
        <p:txBody>
          <a:bodyPr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gradFill flip="none" rotWithShape="1">
                  <a:gsLst>
                    <a:gs pos="74000">
                      <a:schemeClr val="accent1">
                        <a:lumMod val="75000"/>
                      </a:schemeClr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  <a:gs pos="27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0"/>
                  <a:tileRect/>
                </a:gra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>
                <a:solidFill>
                  <a:schemeClr val="accent1"/>
                </a:solidFill>
                <a:effectLst>
                  <a:outerShdw blurRad="127000" dir="5400000" algn="t" rotWithShape="0">
                    <a:schemeClr val="accent1">
                      <a:alpha val="20000"/>
                    </a:schemeClr>
                  </a:outerShdw>
                </a:effectLst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03</a:t>
            </a:r>
            <a:endParaRPr lang="en-US" altLang="zh-CN" dirty="0">
              <a:solidFill>
                <a:schemeClr val="accent1"/>
              </a:solidFill>
              <a:effectLst>
                <a:outerShdw blurRad="127000" dir="5400000" algn="t" rotWithShape="0">
                  <a:schemeClr val="accent1">
                    <a:alpha val="20000"/>
                  </a:schemeClr>
                </a:outerShdw>
              </a:effectLst>
              <a:latin typeface="等线 Light" panose="02010600030101010101" pitchFamily="2" charset="-122"/>
              <a:ea typeface="等线 Light" panose="02010600030101010101" pitchFamily="2" charset="-122"/>
              <a:cs typeface="微软雅黑" panose="020B0503020204020204" pitchFamily="34" charset="-122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7750294" y="3900455"/>
            <a:ext cx="2050533" cy="49569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gradFill flip="none" rotWithShape="1">
                  <a:gsLst>
                    <a:gs pos="74000">
                      <a:schemeClr val="accent1">
                        <a:lumMod val="75000"/>
                      </a:schemeClr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  <a:gs pos="27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0"/>
                  <a:tileRect/>
                </a:gra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dirty="0">
                <a:solidFill>
                  <a:schemeClr val="accent1"/>
                </a:solidFill>
                <a:effectLst/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团队分工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7750294" y="4405609"/>
            <a:ext cx="1621068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gradFill flip="none" rotWithShape="1">
                  <a:gsLst>
                    <a:gs pos="74000">
                      <a:schemeClr val="accent1">
                        <a:lumMod val="75000"/>
                      </a:schemeClr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  <a:gs pos="27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0"/>
                  <a:tileRect/>
                </a:gra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dist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lang="en-US" altLang="zh-CN" sz="1200" b="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等线" panose="02010600030101010101" pitchFamily="2" charset="-122"/>
                <a:ea typeface="等线" panose="02010600030101010101" pitchFamily="2" charset="-122"/>
                <a:cs typeface="微软雅黑" panose="020B0503020204020204" pitchFamily="34" charset="-122"/>
              </a:rPr>
              <a:t>Group Task Distribution 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6505436" y="5136903"/>
            <a:ext cx="1160673" cy="923330"/>
          </a:xfrm>
          <a:prstGeom prst="rect">
            <a:avLst/>
          </a:prstGeom>
        </p:spPr>
        <p:txBody>
          <a:bodyPr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gradFill flip="none" rotWithShape="1">
                  <a:gsLst>
                    <a:gs pos="74000">
                      <a:schemeClr val="accent1">
                        <a:lumMod val="75000"/>
                      </a:schemeClr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  <a:gs pos="27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0"/>
                  <a:tileRect/>
                </a:gra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>
                <a:solidFill>
                  <a:schemeClr val="accent1"/>
                </a:solidFill>
                <a:effectLst>
                  <a:outerShdw blurRad="127000" dir="5400000" algn="t" rotWithShape="0">
                    <a:schemeClr val="accent1">
                      <a:alpha val="20000"/>
                    </a:schemeClr>
                  </a:outerShdw>
                </a:effectLst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04</a:t>
            </a:r>
            <a:endParaRPr lang="en-US" altLang="zh-CN" dirty="0">
              <a:solidFill>
                <a:schemeClr val="accent1"/>
              </a:solidFill>
              <a:effectLst>
                <a:outerShdw blurRad="127000" dir="5400000" algn="t" rotWithShape="0">
                  <a:schemeClr val="accent1">
                    <a:alpha val="20000"/>
                  </a:schemeClr>
                </a:outerShdw>
              </a:effectLst>
              <a:latin typeface="等线 Light" panose="02010600030101010101" pitchFamily="2" charset="-122"/>
              <a:ea typeface="等线 Light" panose="02010600030101010101" pitchFamily="2" charset="-122"/>
              <a:cs typeface="微软雅黑" panose="020B0503020204020204" pitchFamily="34" charset="-122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7750294" y="5726636"/>
            <a:ext cx="1621068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gradFill flip="none" rotWithShape="1">
                  <a:gsLst>
                    <a:gs pos="74000">
                      <a:schemeClr val="accent1">
                        <a:lumMod val="75000"/>
                      </a:schemeClr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  <a:gs pos="27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0"/>
                  <a:tileRect/>
                </a:gra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dist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lang="en-US" altLang="zh-CN" sz="1200" b="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等线" panose="02010600030101010101" pitchFamily="2" charset="-122"/>
                <a:ea typeface="等线" panose="02010600030101010101" pitchFamily="2" charset="-122"/>
                <a:cs typeface="微软雅黑" panose="020B0503020204020204" pitchFamily="34" charset="-122"/>
              </a:rPr>
              <a:t>Project Progress</a:t>
            </a:r>
          </a:p>
        </p:txBody>
      </p:sp>
      <p:sp>
        <p:nvSpPr>
          <p:cNvPr id="37" name="文本框 36"/>
          <p:cNvSpPr txBox="1"/>
          <p:nvPr/>
        </p:nvSpPr>
        <p:spPr>
          <a:xfrm>
            <a:off x="7750294" y="1258403"/>
            <a:ext cx="2050533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gradFill flip="none" rotWithShape="1">
                  <a:gsLst>
                    <a:gs pos="74000">
                      <a:schemeClr val="accent1">
                        <a:lumMod val="75000"/>
                      </a:schemeClr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  <a:gs pos="27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0"/>
                  <a:tileRect/>
                </a:gra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dirty="0">
                <a:solidFill>
                  <a:schemeClr val="accent1"/>
                </a:solidFill>
                <a:effectLst/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原型改进</a:t>
            </a:r>
          </a:p>
        </p:txBody>
      </p:sp>
      <p:sp>
        <p:nvSpPr>
          <p:cNvPr id="38" name="文本框 37"/>
          <p:cNvSpPr txBox="1"/>
          <p:nvPr/>
        </p:nvSpPr>
        <p:spPr>
          <a:xfrm>
            <a:off x="7750294" y="1763557"/>
            <a:ext cx="1621068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gradFill flip="none" rotWithShape="1">
                  <a:gsLst>
                    <a:gs pos="74000">
                      <a:schemeClr val="accent1">
                        <a:lumMod val="75000"/>
                      </a:schemeClr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  <a:gs pos="27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0"/>
                  <a:tileRect/>
                </a:gra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dist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lang="en-US" altLang="zh-CN" sz="1200" b="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等线" panose="02010600030101010101" pitchFamily="2" charset="-122"/>
                <a:ea typeface="等线" panose="02010600030101010101" pitchFamily="2" charset="-122"/>
                <a:cs typeface="微软雅黑" panose="020B0503020204020204" pitchFamily="34" charset="-122"/>
              </a:rPr>
              <a:t>Prototype Improvement</a:t>
            </a:r>
          </a:p>
        </p:txBody>
      </p:sp>
      <p:sp>
        <p:nvSpPr>
          <p:cNvPr id="39" name="文本框 38"/>
          <p:cNvSpPr txBox="1"/>
          <p:nvPr/>
        </p:nvSpPr>
        <p:spPr>
          <a:xfrm>
            <a:off x="6505436" y="1195356"/>
            <a:ext cx="1218924" cy="923330"/>
          </a:xfrm>
          <a:prstGeom prst="rect">
            <a:avLst/>
          </a:prstGeom>
        </p:spPr>
        <p:txBody>
          <a:bodyPr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gradFill flip="none" rotWithShape="1">
                  <a:gsLst>
                    <a:gs pos="74000">
                      <a:schemeClr val="accent1">
                        <a:lumMod val="75000"/>
                      </a:schemeClr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  <a:gs pos="27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0"/>
                  <a:tileRect/>
                </a:gra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>
                <a:solidFill>
                  <a:schemeClr val="accent1"/>
                </a:solidFill>
                <a:effectLst>
                  <a:outerShdw blurRad="127000" dir="5400000" algn="t" rotWithShape="0">
                    <a:schemeClr val="accent1">
                      <a:alpha val="20000"/>
                    </a:schemeClr>
                  </a:outerShdw>
                </a:effectLst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01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3B1D2318-B384-47A5-AAF3-51248BAD8D55}"/>
              </a:ext>
            </a:extLst>
          </p:cNvPr>
          <p:cNvSpPr txBox="1"/>
          <p:nvPr/>
        </p:nvSpPr>
        <p:spPr>
          <a:xfrm>
            <a:off x="2059084" y="2746113"/>
            <a:ext cx="189174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6600" b="1" spc="110" dirty="0">
                <a:solidFill>
                  <a:schemeClr val="accent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目录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A5606590-8635-45AB-AB1D-05C14C45568C}"/>
              </a:ext>
            </a:extLst>
          </p:cNvPr>
          <p:cNvSpPr txBox="1"/>
          <p:nvPr/>
        </p:nvSpPr>
        <p:spPr>
          <a:xfrm>
            <a:off x="2163706" y="3676371"/>
            <a:ext cx="16824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400">
                <a:solidFill>
                  <a:schemeClr val="tx1">
                    <a:lumMod val="95000"/>
                    <a:lumOff val="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  <a:cs typeface="微软雅黑" panose="020B0503020204020204" pitchFamily="34" charset="-122"/>
              </a:rPr>
              <a:t>CONTENT</a:t>
            </a:r>
            <a:endParaRPr lang="zh-CN" altLang="en-US" sz="2400">
              <a:solidFill>
                <a:schemeClr val="tx1">
                  <a:lumMod val="95000"/>
                  <a:lumOff val="5000"/>
                </a:schemeClr>
              </a:solidFill>
              <a:latin typeface="等线" panose="02010600030101010101" pitchFamily="2" charset="-122"/>
              <a:ea typeface="等线" panose="02010600030101010101" pitchFamily="2" charset="-122"/>
              <a:cs typeface="微软雅黑" panose="020B0503020204020204" pitchFamily="34" charset="-122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62FD7B8D-7926-41B2-992B-13F8F3C315C1}"/>
              </a:ext>
            </a:extLst>
          </p:cNvPr>
          <p:cNvSpPr/>
          <p:nvPr/>
        </p:nvSpPr>
        <p:spPr>
          <a:xfrm>
            <a:off x="3588750" y="2732648"/>
            <a:ext cx="242586" cy="243246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bg1">
                <a:alpha val="40000"/>
              </a:schemeClr>
            </a:solidFill>
          </a:ln>
          <a:effectLst>
            <a:outerShdw blurRad="177800" dist="114300" dir="2700000" algn="ctr" rotWithShape="0">
              <a:schemeClr val="accent1">
                <a:alpha val="4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F897ED3-76B3-87F0-353D-6DB830B24384}"/>
              </a:ext>
            </a:extLst>
          </p:cNvPr>
          <p:cNvSpPr txBox="1"/>
          <p:nvPr/>
        </p:nvSpPr>
        <p:spPr>
          <a:xfrm>
            <a:off x="7750293" y="5230943"/>
            <a:ext cx="2050533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gradFill flip="none" rotWithShape="1">
                  <a:gsLst>
                    <a:gs pos="74000">
                      <a:schemeClr val="accent1">
                        <a:lumMod val="75000"/>
                      </a:schemeClr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  <a:gs pos="27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0"/>
                  <a:tileRect/>
                </a:gra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dirty="0">
                <a:solidFill>
                  <a:schemeClr val="accent1"/>
                </a:solidFill>
                <a:effectLst/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项目进展</a:t>
            </a:r>
          </a:p>
        </p:txBody>
      </p:sp>
    </p:spTree>
    <p:extLst>
      <p:ext uri="{BB962C8B-B14F-4D97-AF65-F5344CB8AC3E}">
        <p14:creationId xmlns:p14="http://schemas.microsoft.com/office/powerpoint/2010/main" val="1609154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24" grpId="0"/>
      <p:bldP spid="27" grpId="0"/>
      <p:bldP spid="28" grpId="0"/>
      <p:bldP spid="29" grpId="0"/>
      <p:bldP spid="32" grpId="0"/>
      <p:bldP spid="34" grpId="0"/>
      <p:bldP spid="37" grpId="0"/>
      <p:bldP spid="38" grpId="0"/>
      <p:bldP spid="39" grpId="0"/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33000" contras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593" t="2491" r="1276" b="35009"/>
          <a:stretch/>
        </p:blipFill>
        <p:spPr>
          <a:xfrm flipH="1"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矩形 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7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Light"/>
              <a:ea typeface="思源黑体 CN Light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865398" y="1088334"/>
            <a:ext cx="101600" cy="101600"/>
          </a:xfrm>
          <a:prstGeom prst="rect">
            <a:avLst/>
          </a:prstGeom>
          <a:solidFill>
            <a:schemeClr val="accent2">
              <a:lumMod val="50000"/>
              <a:lumOff val="50000"/>
            </a:schemeClr>
          </a:solidFill>
          <a:ln>
            <a:solidFill>
              <a:schemeClr val="accent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Light"/>
              <a:ea typeface="思源黑体 CN Light"/>
              <a:cs typeface="+mn-cs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660400" y="1088334"/>
            <a:ext cx="101600" cy="1016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Light"/>
              <a:ea typeface="思源黑体 CN Light"/>
              <a:cs typeface="+mn-cs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070397" y="1088334"/>
            <a:ext cx="101600" cy="101600"/>
          </a:xfrm>
          <a:prstGeom prst="rect">
            <a:avLst/>
          </a:prstGeom>
          <a:noFill/>
          <a:ln w="9525">
            <a:solidFill>
              <a:schemeClr val="accent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Light"/>
              <a:ea typeface="思源黑体 CN Light"/>
              <a:cs typeface="+mn-cs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48335" y="219606"/>
            <a:ext cx="895629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altLang="zh-CN" sz="3600" spc="100" dirty="0">
                <a:solidFill>
                  <a:schemeClr val="accent1"/>
                </a:solidFill>
                <a:latin typeface="等线" panose="02010600030101010101" pitchFamily="2" charset="-122"/>
                <a:ea typeface="等线" panose="02010600030101010101" pitchFamily="2" charset="-122"/>
                <a:cs typeface="Arial" panose="020B0604020202020204" pitchFamily="34" charset="0"/>
              </a:rPr>
              <a:t>/01 </a:t>
            </a:r>
            <a:r>
              <a:rPr lang="zh-CN" altLang="en-US" sz="3600" spc="100" dirty="0">
                <a:solidFill>
                  <a:schemeClr val="accent1"/>
                </a:solidFill>
                <a:latin typeface="等线" panose="02010600030101010101" pitchFamily="2" charset="-122"/>
                <a:ea typeface="等线" panose="02010600030101010101" pitchFamily="2" charset="-122"/>
                <a:cs typeface="Arial" panose="020B0604020202020204" pitchFamily="34" charset="0"/>
              </a:rPr>
              <a:t>原型改进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 Light" panose="02010600030101010101" pitchFamily="2" charset="-122"/>
                <a:ea typeface="等线 Light" panose="02010600030101010101" pitchFamily="2" charset="-122"/>
                <a:cs typeface="+mn-cs"/>
              </a:rPr>
              <a:t>项目原型手稿改进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 Light" panose="02010600030101010101" pitchFamily="2" charset="-122"/>
                <a:ea typeface="等线 Light" panose="02010600030101010101" pitchFamily="2" charset="-122"/>
                <a:cs typeface="+mn-cs"/>
              </a:rPr>
              <a:t>——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 Light" panose="02010600030101010101" pitchFamily="2" charset="-122"/>
                <a:ea typeface="等线 Light" panose="02010600030101010101" pitchFamily="2" charset="-122"/>
                <a:cs typeface="+mn-cs"/>
              </a:rPr>
              <a:t>打造用户友好型界面</a:t>
            </a:r>
          </a:p>
        </p:txBody>
      </p:sp>
      <p:sp>
        <p:nvSpPr>
          <p:cNvPr id="38" name="矩形 37"/>
          <p:cNvSpPr/>
          <p:nvPr/>
        </p:nvSpPr>
        <p:spPr>
          <a:xfrm>
            <a:off x="836684" y="6281142"/>
            <a:ext cx="2404822" cy="400110"/>
          </a:xfrm>
          <a:prstGeom prst="rect">
            <a:avLst/>
          </a:prstGeom>
          <a:solidFill>
            <a:schemeClr val="bg1"/>
          </a:solidFill>
          <a:ln>
            <a:gradFill flip="none" rotWithShape="1">
              <a:gsLst>
                <a:gs pos="0">
                  <a:schemeClr val="accent3"/>
                </a:gs>
                <a:gs pos="100000">
                  <a:schemeClr val="accent3"/>
                </a:gs>
                <a:gs pos="57000">
                  <a:schemeClr val="accent4"/>
                </a:gs>
              </a:gsLst>
              <a:lin ang="2700000" scaled="1"/>
              <a:tileRect/>
            </a:gradFill>
          </a:ln>
          <a:effectLst>
            <a:outerShdw blurRad="482600" dist="190500" dir="2700000" algn="tl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11E47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改进前</a:t>
            </a:r>
          </a:p>
        </p:txBody>
      </p:sp>
      <p:sp>
        <p:nvSpPr>
          <p:cNvPr id="39" name="矩形 38"/>
          <p:cNvSpPr/>
          <p:nvPr/>
        </p:nvSpPr>
        <p:spPr>
          <a:xfrm>
            <a:off x="4047807" y="6256608"/>
            <a:ext cx="2404822" cy="400110"/>
          </a:xfrm>
          <a:prstGeom prst="rect">
            <a:avLst/>
          </a:prstGeom>
          <a:solidFill>
            <a:schemeClr val="bg1"/>
          </a:solidFill>
          <a:ln>
            <a:gradFill flip="none" rotWithShape="1">
              <a:gsLst>
                <a:gs pos="0">
                  <a:schemeClr val="accent3"/>
                </a:gs>
                <a:gs pos="100000">
                  <a:schemeClr val="accent3"/>
                </a:gs>
                <a:gs pos="57000">
                  <a:schemeClr val="accent4"/>
                </a:gs>
              </a:gsLst>
              <a:lin ang="2700000" scaled="1"/>
              <a:tileRect/>
            </a:gradFill>
          </a:ln>
          <a:effectLst>
            <a:outerShdw blurRad="482600" dist="190500" dir="2700000" algn="tl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11E47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改进后</a:t>
            </a:r>
          </a:p>
        </p:txBody>
      </p:sp>
      <p:sp>
        <p:nvSpPr>
          <p:cNvPr id="47" name="椭圆 46"/>
          <p:cNvSpPr/>
          <p:nvPr/>
        </p:nvSpPr>
        <p:spPr>
          <a:xfrm>
            <a:off x="3744774" y="3389084"/>
            <a:ext cx="431802" cy="431802"/>
          </a:xfrm>
          <a:prstGeom prst="ellipse">
            <a:avLst/>
          </a:prstGeom>
          <a:gradFill flip="none" rotWithShape="1">
            <a:gsLst>
              <a:gs pos="0">
                <a:schemeClr val="accent3"/>
              </a:gs>
              <a:gs pos="80000">
                <a:schemeClr val="accent3"/>
              </a:gs>
              <a:gs pos="54000">
                <a:schemeClr val="accent4"/>
              </a:gs>
            </a:gsLst>
            <a:lin ang="8100000" scaled="1"/>
            <a:tileRect/>
          </a:gradFill>
          <a:ln>
            <a:noFill/>
          </a:ln>
          <a:effectLst>
            <a:outerShdw blurRad="177800" dist="88900" dir="2700000" algn="tl" rotWithShape="0">
              <a:schemeClr val="accent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Light"/>
              <a:ea typeface="思源黑体 CN Light"/>
              <a:cs typeface="+mn-cs"/>
            </a:endParaRPr>
          </a:p>
        </p:txBody>
      </p:sp>
      <p:sp>
        <p:nvSpPr>
          <p:cNvPr id="48" name="椭圆 47"/>
          <p:cNvSpPr/>
          <p:nvPr/>
        </p:nvSpPr>
        <p:spPr>
          <a:xfrm>
            <a:off x="7480274" y="1471036"/>
            <a:ext cx="1224000" cy="1224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Light"/>
              <a:ea typeface="思源黑体 CN Light"/>
              <a:cs typeface="+mn-cs"/>
            </a:endParaRPr>
          </a:p>
        </p:txBody>
      </p:sp>
      <p:sp>
        <p:nvSpPr>
          <p:cNvPr id="49" name="文本框 48"/>
          <p:cNvSpPr txBox="1"/>
          <p:nvPr/>
        </p:nvSpPr>
        <p:spPr>
          <a:xfrm>
            <a:off x="7435684" y="1707800"/>
            <a:ext cx="131318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 Light" panose="02010600030101010101" pitchFamily="2" charset="-122"/>
                <a:ea typeface="等线 Light" panose="02010600030101010101" pitchFamily="2" charset="-122"/>
                <a:cs typeface="+mn-cs"/>
              </a:rPr>
              <a:t>需求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等线 Light" panose="02010600030101010101" pitchFamily="2" charset="-122"/>
              <a:ea typeface="等线 Light" panose="02010600030101010101" pitchFamily="2" charset="-122"/>
              <a:cs typeface="+mn-cs"/>
            </a:endParaRPr>
          </a:p>
        </p:txBody>
      </p:sp>
      <p:sp>
        <p:nvSpPr>
          <p:cNvPr id="50" name="椭圆 49"/>
          <p:cNvSpPr/>
          <p:nvPr/>
        </p:nvSpPr>
        <p:spPr>
          <a:xfrm>
            <a:off x="8875797" y="1480520"/>
            <a:ext cx="1224000" cy="1224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Light"/>
              <a:ea typeface="思源黑体 CN Light"/>
              <a:cs typeface="+mn-cs"/>
            </a:endParaRPr>
          </a:p>
        </p:txBody>
      </p:sp>
      <p:sp>
        <p:nvSpPr>
          <p:cNvPr id="52" name="椭圆 51"/>
          <p:cNvSpPr/>
          <p:nvPr/>
        </p:nvSpPr>
        <p:spPr>
          <a:xfrm>
            <a:off x="10226730" y="1468825"/>
            <a:ext cx="1224000" cy="1224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Light"/>
              <a:ea typeface="思源黑体 CN Light"/>
              <a:cs typeface="+mn-cs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8831207" y="1696867"/>
            <a:ext cx="131318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 Light" panose="02010600030101010101" pitchFamily="2" charset="-122"/>
                <a:ea typeface="等线 Light" panose="02010600030101010101" pitchFamily="2" charset="-122"/>
                <a:cs typeface="+mn-cs"/>
              </a:rPr>
              <a:t>简洁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等线 Light" panose="02010600030101010101" pitchFamily="2" charset="-122"/>
              <a:ea typeface="等线 Light" panose="02010600030101010101" pitchFamily="2" charset="-122"/>
              <a:cs typeface="+mn-cs"/>
            </a:endParaRPr>
          </a:p>
        </p:txBody>
      </p:sp>
      <p:sp>
        <p:nvSpPr>
          <p:cNvPr id="56" name="文本框 55"/>
          <p:cNvSpPr txBox="1"/>
          <p:nvPr/>
        </p:nvSpPr>
        <p:spPr>
          <a:xfrm>
            <a:off x="10184173" y="1696105"/>
            <a:ext cx="131318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 Light" panose="02010600030101010101" pitchFamily="2" charset="-122"/>
                <a:ea typeface="等线 Light" panose="02010600030101010101" pitchFamily="2" charset="-122"/>
                <a:cs typeface="+mn-cs"/>
              </a:rPr>
              <a:t>美观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等线 Light" panose="02010600030101010101" pitchFamily="2" charset="-122"/>
              <a:ea typeface="等线 Light" panose="02010600030101010101" pitchFamily="2" charset="-122"/>
              <a:cs typeface="+mn-cs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E6A47015-CA3D-BFE5-7AD6-ECE4CC1CEA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419" y="1419304"/>
            <a:ext cx="3228356" cy="461892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8050DE1C-80F6-D370-8732-72F4089DA1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182" y="1419303"/>
            <a:ext cx="3165361" cy="4618926"/>
          </a:xfrm>
          <a:prstGeom prst="rect">
            <a:avLst/>
          </a:prstGeom>
        </p:spPr>
      </p:pic>
      <p:sp>
        <p:nvSpPr>
          <p:cNvPr id="16" name="文本占位符 10">
            <a:extLst>
              <a:ext uri="{FF2B5EF4-FFF2-40B4-BE49-F238E27FC236}">
                <a16:creationId xmlns:a16="http://schemas.microsoft.com/office/drawing/2014/main" id="{764E4439-BD80-88B6-7D21-C54F08094248}"/>
              </a:ext>
            </a:extLst>
          </p:cNvPr>
          <p:cNvSpPr txBox="1">
            <a:spLocks/>
          </p:cNvSpPr>
          <p:nvPr/>
        </p:nvSpPr>
        <p:spPr>
          <a:xfrm>
            <a:off x="6980660" y="2971788"/>
            <a:ext cx="5419725" cy="285767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dirty="0"/>
              <a:t>在这一项目阶段，我们通过多人小组集会，群策群力，在经历了多次讨论与改良后我们打造出了更加符合目标用户需求，整体界面更加简洁美观的手稿原型。</a:t>
            </a: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B3F3F1A7-37D9-3981-C6CC-8A45459284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89313" y="5003800"/>
            <a:ext cx="4430641" cy="1854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6912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47" grpId="0" animBg="1"/>
      <p:bldP spid="49" grpId="0"/>
      <p:bldP spid="54" grpId="0"/>
      <p:bldP spid="56" grpId="0"/>
      <p:bldP spid="16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E96F02-AEBF-3D8C-46FB-D727FACAE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B3454D5A-9FDF-9699-5E58-3815A32EB86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26" t="433" r="5953" b="15160"/>
          <a:stretch/>
        </p:blipFill>
        <p:spPr>
          <a:xfrm>
            <a:off x="3195096" y="2291952"/>
            <a:ext cx="8996903" cy="4566048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7D6A2D02-9C8F-888F-1950-FC57286AC083}"/>
              </a:ext>
            </a:extLst>
          </p:cNvPr>
          <p:cNvSpPr txBox="1"/>
          <p:nvPr/>
        </p:nvSpPr>
        <p:spPr>
          <a:xfrm>
            <a:off x="286324" y="400024"/>
            <a:ext cx="828602" cy="58203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等线" panose="02010600030101010101" pitchFamily="2" charset="-122"/>
                <a:ea typeface="等线" panose="02010600030101010101" pitchFamily="2" charset="-122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等线" panose="02010600030101010101" pitchFamily="2" charset="-122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0BCD8224-8298-277B-6CA6-813ECEC46042}"/>
              </a:ext>
            </a:extLst>
          </p:cNvPr>
          <p:cNvSpPr txBox="1"/>
          <p:nvPr/>
        </p:nvSpPr>
        <p:spPr>
          <a:xfrm>
            <a:off x="1255747" y="262292"/>
            <a:ext cx="281749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原型设计</a:t>
            </a: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0DABE717-EAF0-62B9-404F-5186C7EFD7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686" y="1422654"/>
            <a:ext cx="7634993" cy="4994748"/>
          </a:xfrm>
          <a:prstGeom prst="rect">
            <a:avLst/>
          </a:prstGeom>
        </p:spPr>
      </p:pic>
      <p:sp>
        <p:nvSpPr>
          <p:cNvPr id="17" name="标题 4">
            <a:extLst>
              <a:ext uri="{FF2B5EF4-FFF2-40B4-BE49-F238E27FC236}">
                <a16:creationId xmlns:a16="http://schemas.microsoft.com/office/drawing/2014/main" id="{8F119251-7D61-8591-EE61-1A20210E016F}"/>
              </a:ext>
            </a:extLst>
          </p:cNvPr>
          <p:cNvSpPr txBox="1">
            <a:spLocks/>
          </p:cNvSpPr>
          <p:nvPr/>
        </p:nvSpPr>
        <p:spPr>
          <a:xfrm>
            <a:off x="6305550" y="221752"/>
            <a:ext cx="5419185" cy="140716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latin typeface="等线" panose="02010600030101010101" pitchFamily="2" charset="-122"/>
                <a:ea typeface="等线" panose="02010600030101010101" pitchFamily="2" charset="-122"/>
              </a:rPr>
              <a:t>我们使用了墨刀这个国产工具作为我们的原型设计工具</a:t>
            </a:r>
            <a:r>
              <a:rPr lang="en-US" altLang="zh-CN" dirty="0">
                <a:latin typeface="等线" panose="02010600030101010101" pitchFamily="2" charset="-122"/>
                <a:ea typeface="等线" panose="02010600030101010101" pitchFamily="2" charset="-122"/>
              </a:rPr>
              <a:t>, </a:t>
            </a:r>
            <a:r>
              <a:rPr lang="zh-CN" altLang="en-US" dirty="0">
                <a:latin typeface="等线" panose="02010600030101010101" pitchFamily="2" charset="-122"/>
                <a:ea typeface="等线" panose="02010600030101010101" pitchFamily="2" charset="-122"/>
              </a:rPr>
              <a:t>因为其优秀的交互和较为简洁的使用逻辑</a:t>
            </a:r>
            <a:r>
              <a:rPr lang="en-US" altLang="zh-CN" dirty="0">
                <a:latin typeface="等线" panose="02010600030101010101" pitchFamily="2" charset="-122"/>
                <a:ea typeface="等线" panose="02010600030101010101" pitchFamily="2" charset="-122"/>
              </a:rPr>
              <a:t>, </a:t>
            </a:r>
            <a:r>
              <a:rPr lang="zh-CN" altLang="en-US" dirty="0">
                <a:latin typeface="等线" panose="02010600030101010101" pitchFamily="2" charset="-122"/>
                <a:ea typeface="等线" panose="02010600030101010101" pitchFamily="2" charset="-122"/>
              </a:rPr>
              <a:t>先进行了大致的页面绘制</a:t>
            </a:r>
            <a:r>
              <a:rPr lang="en-US" altLang="zh-CN" dirty="0">
                <a:latin typeface="等线" panose="02010600030101010101" pitchFamily="2" charset="-122"/>
                <a:ea typeface="等线" panose="02010600030101010101" pitchFamily="2" charset="-122"/>
              </a:rPr>
              <a:t>, </a:t>
            </a:r>
            <a:r>
              <a:rPr lang="zh-CN" altLang="en-US" dirty="0">
                <a:latin typeface="等线" panose="02010600030101010101" pitchFamily="2" charset="-122"/>
                <a:ea typeface="等线" panose="02010600030101010101" pitchFamily="2" charset="-122"/>
              </a:rPr>
              <a:t>然后用墨刀制作了相关页面</a:t>
            </a: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11F76984-2789-28A7-79B1-C55E0DF2E1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3172" y="99692"/>
            <a:ext cx="3401760" cy="1189613"/>
          </a:xfrm>
          <a:prstGeom prst="rect">
            <a:avLst/>
          </a:prstGeom>
        </p:spPr>
      </p:pic>
      <p:sp>
        <p:nvSpPr>
          <p:cNvPr id="20" name="标题 4">
            <a:extLst>
              <a:ext uri="{FF2B5EF4-FFF2-40B4-BE49-F238E27FC236}">
                <a16:creationId xmlns:a16="http://schemas.microsoft.com/office/drawing/2014/main" id="{C0DCA200-5E3E-851E-2948-FEDC37CFE8DD}"/>
              </a:ext>
            </a:extLst>
          </p:cNvPr>
          <p:cNvSpPr txBox="1">
            <a:spLocks/>
          </p:cNvSpPr>
          <p:nvPr/>
        </p:nvSpPr>
        <p:spPr>
          <a:xfrm>
            <a:off x="6569129" y="2971800"/>
            <a:ext cx="5419185" cy="45720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 dirty="0"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0FAE8DF-0363-8850-06A2-C382299C3232}"/>
              </a:ext>
            </a:extLst>
          </p:cNvPr>
          <p:cNvSpPr/>
          <p:nvPr/>
        </p:nvSpPr>
        <p:spPr>
          <a:xfrm>
            <a:off x="7979544" y="2631973"/>
            <a:ext cx="3604326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我们在登录页面设置了三种角色的不同登录方式</a:t>
            </a:r>
            <a:r>
              <a:rPr lang="en-US" altLang="zh-CN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, </a:t>
            </a:r>
            <a:r>
              <a:rPr lang="zh-CN" altLang="en-US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学生采用学号登录</a:t>
            </a:r>
            <a:r>
              <a:rPr lang="en-US" altLang="zh-CN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, </a:t>
            </a:r>
            <a:r>
              <a:rPr lang="zh-CN" altLang="en-US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宿管采用楼层登录</a:t>
            </a:r>
            <a:r>
              <a:rPr lang="en-US" altLang="zh-CN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, </a:t>
            </a:r>
            <a:r>
              <a:rPr lang="zh-CN" altLang="en-US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领导采用领导专用账号登录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7D86DACF-4FF8-126B-88A5-FAC115433B73}"/>
              </a:ext>
            </a:extLst>
          </p:cNvPr>
          <p:cNvSpPr/>
          <p:nvPr/>
        </p:nvSpPr>
        <p:spPr>
          <a:xfrm>
            <a:off x="2295096" y="1058472"/>
            <a:ext cx="2494265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登入页面</a:t>
            </a:r>
          </a:p>
        </p:txBody>
      </p:sp>
    </p:spTree>
    <p:extLst>
      <p:ext uri="{BB962C8B-B14F-4D97-AF65-F5344CB8AC3E}">
        <p14:creationId xmlns:p14="http://schemas.microsoft.com/office/powerpoint/2010/main" val="4264968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7705CD-CFAD-1934-EE15-6F6F31E843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B0610E90-4674-2E9B-A83E-1D97170C6C2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814" t="2058" r="6438" b="15161"/>
          <a:stretch/>
        </p:blipFill>
        <p:spPr>
          <a:xfrm>
            <a:off x="3288631" y="2379845"/>
            <a:ext cx="8903369" cy="4478155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EF65ADDB-C119-FE1C-95BF-AC45C5A54AB1}"/>
              </a:ext>
            </a:extLst>
          </p:cNvPr>
          <p:cNvSpPr txBox="1"/>
          <p:nvPr/>
        </p:nvSpPr>
        <p:spPr>
          <a:xfrm>
            <a:off x="1255747" y="262292"/>
            <a:ext cx="281749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原型设计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06CA393-5CB9-B1E7-EA5C-16157D1738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876" y="1303661"/>
            <a:ext cx="6280819" cy="5107382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7A5AE4C6-C7F6-7A7A-0472-4468ACAE7863}"/>
              </a:ext>
            </a:extLst>
          </p:cNvPr>
          <p:cNvSpPr/>
          <p:nvPr/>
        </p:nvSpPr>
        <p:spPr>
          <a:xfrm>
            <a:off x="-155772" y="4329589"/>
            <a:ext cx="1873447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用户在此切换不同功能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CE80F8F9-D8C4-D34F-AA14-1A46256E1DB9}"/>
              </a:ext>
            </a:extLst>
          </p:cNvPr>
          <p:cNvSpPr/>
          <p:nvPr/>
        </p:nvSpPr>
        <p:spPr>
          <a:xfrm>
            <a:off x="2389352" y="1583868"/>
            <a:ext cx="3706648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用户可快捷方便地查看过去数月的水电费开支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A13F72F9-6205-A3BA-9103-8C7515E54E1A}"/>
              </a:ext>
            </a:extLst>
          </p:cNvPr>
          <p:cNvSpPr/>
          <p:nvPr/>
        </p:nvSpPr>
        <p:spPr>
          <a:xfrm>
            <a:off x="1916560" y="4462997"/>
            <a:ext cx="3978286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通知栏，方便用户能及时收到缴费，水电管制等讯息</a:t>
            </a:r>
          </a:p>
        </p:txBody>
      </p:sp>
      <p:sp>
        <p:nvSpPr>
          <p:cNvPr id="23" name="箭头: 右 22">
            <a:extLst>
              <a:ext uri="{FF2B5EF4-FFF2-40B4-BE49-F238E27FC236}">
                <a16:creationId xmlns:a16="http://schemas.microsoft.com/office/drawing/2014/main" id="{F10FF671-9933-4295-8AAD-2D1D82F249B6}"/>
              </a:ext>
            </a:extLst>
          </p:cNvPr>
          <p:cNvSpPr/>
          <p:nvPr/>
        </p:nvSpPr>
        <p:spPr>
          <a:xfrm rot="5400000">
            <a:off x="295896" y="3770307"/>
            <a:ext cx="834485" cy="9445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09E6681-7228-B20E-4D6D-3414927547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255" y="831438"/>
            <a:ext cx="5596026" cy="4329148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1C3F0111-7B51-F167-8931-9AA6C3ECB913}"/>
              </a:ext>
            </a:extLst>
          </p:cNvPr>
          <p:cNvSpPr/>
          <p:nvPr/>
        </p:nvSpPr>
        <p:spPr>
          <a:xfrm>
            <a:off x="3288631" y="446957"/>
            <a:ext cx="2494265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学生端主页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5D8E1C77-AE78-D004-CED2-46F8346727BB}"/>
              </a:ext>
            </a:extLst>
          </p:cNvPr>
          <p:cNvSpPr/>
          <p:nvPr/>
        </p:nvSpPr>
        <p:spPr>
          <a:xfrm>
            <a:off x="7467885" y="446957"/>
            <a:ext cx="318407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24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住宿申请与退宿申请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D49CF415-4261-6D87-0E9C-5E96B133EBEF}"/>
              </a:ext>
            </a:extLst>
          </p:cNvPr>
          <p:cNvSpPr txBox="1"/>
          <p:nvPr/>
        </p:nvSpPr>
        <p:spPr>
          <a:xfrm>
            <a:off x="7467885" y="3488020"/>
            <a:ext cx="3165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8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用户可在线申请入宿和退宿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1228B158-2C9A-BD31-ABF5-934BF0F702C6}"/>
              </a:ext>
            </a:extLst>
          </p:cNvPr>
          <p:cNvSpPr txBox="1"/>
          <p:nvPr/>
        </p:nvSpPr>
        <p:spPr>
          <a:xfrm>
            <a:off x="286324" y="400024"/>
            <a:ext cx="828602" cy="58203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等线" panose="02010600030101010101" pitchFamily="2" charset="-122"/>
                <a:ea typeface="等线" panose="02010600030101010101" pitchFamily="2" charset="-122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等线" panose="02010600030101010101" pitchFamily="2" charset="-122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337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5" grpId="0"/>
      <p:bldP spid="18" grpId="0"/>
      <p:bldP spid="23" grpId="0" animBg="1"/>
      <p:bldP spid="11" grpId="0"/>
      <p:bldP spid="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113A9B-52C2-F043-E013-AE9CAA0E4D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197812A3-13F3-0EA2-492A-1719ADE59AC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634" t="1806" r="5953" b="15161"/>
          <a:stretch/>
        </p:blipFill>
        <p:spPr>
          <a:xfrm>
            <a:off x="3376863" y="2366211"/>
            <a:ext cx="8871284" cy="4491789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C3C0ED1-C746-1B30-5B96-38265B712F32}"/>
              </a:ext>
            </a:extLst>
          </p:cNvPr>
          <p:cNvSpPr txBox="1"/>
          <p:nvPr/>
        </p:nvSpPr>
        <p:spPr>
          <a:xfrm>
            <a:off x="1255747" y="262292"/>
            <a:ext cx="281749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原型设计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CF772EE-ACE5-BBE0-8E56-0B8D3CBE96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93289"/>
            <a:ext cx="5334000" cy="4126441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A56CB1AD-FE48-E044-417F-35C7DA50756B}"/>
              </a:ext>
            </a:extLst>
          </p:cNvPr>
          <p:cNvSpPr txBox="1"/>
          <p:nvPr/>
        </p:nvSpPr>
        <p:spPr>
          <a:xfrm>
            <a:off x="970547" y="3428999"/>
            <a:ext cx="37558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8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用户在此界面可以通过线上支付的方式，方便且快捷地缴纳水电费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7782B320-711C-3731-5B5B-7F9AF31471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202" y="60988"/>
            <a:ext cx="5959642" cy="461044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BA5189ED-E437-565A-1E34-37FB4CE6A9E8}"/>
              </a:ext>
            </a:extLst>
          </p:cNvPr>
          <p:cNvSpPr txBox="1"/>
          <p:nvPr/>
        </p:nvSpPr>
        <p:spPr>
          <a:xfrm>
            <a:off x="7465595" y="3429000"/>
            <a:ext cx="37558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8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仿宋" panose="02010609060101010101" pitchFamily="49" charset="-122"/>
                <a:ea typeface="仿宋" panose="02010609060101010101" pitchFamily="49" charset="-122"/>
              </a:rPr>
              <a:t>用户在此提交报修申请，描述报修内容，并留有联系方式以便沟通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5F1B522-06F7-934B-984A-8113950179D7}"/>
              </a:ext>
            </a:extLst>
          </p:cNvPr>
          <p:cNvSpPr txBox="1"/>
          <p:nvPr/>
        </p:nvSpPr>
        <p:spPr>
          <a:xfrm>
            <a:off x="286324" y="400024"/>
            <a:ext cx="828602" cy="58203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等线" panose="02010600030101010101" pitchFamily="2" charset="-122"/>
                <a:ea typeface="等线" panose="02010600030101010101" pitchFamily="2" charset="-122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等线" panose="02010600030101010101" pitchFamily="2" charset="-122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644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BB0B64-4B76-F16D-669A-3CE34B4F7E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012D91B4-8761-AEA7-5EB0-D1B7F2B8216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634" t="1806" r="5953" b="15161"/>
          <a:stretch/>
        </p:blipFill>
        <p:spPr>
          <a:xfrm>
            <a:off x="3320716" y="2366211"/>
            <a:ext cx="8871284" cy="4491789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A67E001D-5C21-C854-11AE-4DF27343E81C}"/>
              </a:ext>
            </a:extLst>
          </p:cNvPr>
          <p:cNvSpPr txBox="1"/>
          <p:nvPr/>
        </p:nvSpPr>
        <p:spPr>
          <a:xfrm>
            <a:off x="1255747" y="262292"/>
            <a:ext cx="281749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 Light" panose="02010600030101010101" pitchFamily="2" charset="-122"/>
                <a:ea typeface="等线 Light" panose="02010600030101010101" pitchFamily="2" charset="-122"/>
                <a:cs typeface="微软雅黑" panose="020B0503020204020204" pitchFamily="34" charset="-122"/>
              </a:rPr>
              <a:t>项目分工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49B0F6D-27A7-A5E5-EC07-AC90E2CD9861}"/>
              </a:ext>
            </a:extLst>
          </p:cNvPr>
          <p:cNvSpPr txBox="1"/>
          <p:nvPr/>
        </p:nvSpPr>
        <p:spPr>
          <a:xfrm>
            <a:off x="286324" y="400024"/>
            <a:ext cx="828602" cy="58203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等线" panose="02010600030101010101" pitchFamily="2" charset="-122"/>
                <a:ea typeface="等线" panose="02010600030101010101" pitchFamily="2" charset="-122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等线" panose="02010600030101010101" pitchFamily="2" charset="-122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982ED2C5-05B5-2CB0-EB68-E9669A647E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677790"/>
            <a:ext cx="5519803" cy="4139852"/>
          </a:xfrm>
          <a:prstGeom prst="rect">
            <a:avLst/>
          </a:prstGeom>
        </p:spPr>
      </p:pic>
      <p:pic>
        <p:nvPicPr>
          <p:cNvPr id="11" name="New picture">
            <a:extLst>
              <a:ext uri="{FF2B5EF4-FFF2-40B4-BE49-F238E27FC236}">
                <a16:creationId xmlns:a16="http://schemas.microsoft.com/office/drawing/2014/main" id="{83585C39-C93E-57AF-FF1B-1C50F98E06A7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157671" y="1093289"/>
            <a:ext cx="5938329" cy="5247866"/>
          </a:xfrm>
          <a:prstGeom prst="rect">
            <a:avLst/>
          </a:prstGeom>
          <a:ln>
            <a:solidFill>
              <a:srgbClr val="FFFFFF">
                <a:alpha val="0"/>
              </a:srgbClr>
            </a:solidFill>
          </a:ln>
        </p:spPr>
      </p:pic>
    </p:spTree>
    <p:extLst>
      <p:ext uri="{BB962C8B-B14F-4D97-AF65-F5344CB8AC3E}">
        <p14:creationId xmlns:p14="http://schemas.microsoft.com/office/powerpoint/2010/main" val="2767813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2FAA578A-59F1-41D3-7453-2AFF9EBFC2E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634" t="1806" r="5953" b="15161"/>
          <a:stretch/>
        </p:blipFill>
        <p:spPr>
          <a:xfrm>
            <a:off x="3376863" y="2366211"/>
            <a:ext cx="8871284" cy="4491789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923B3632-74E9-7E27-A79B-3795A3061521}"/>
              </a:ext>
            </a:extLst>
          </p:cNvPr>
          <p:cNvSpPr txBox="1"/>
          <p:nvPr/>
        </p:nvSpPr>
        <p:spPr>
          <a:xfrm>
            <a:off x="1559997" y="332154"/>
            <a:ext cx="828602" cy="58203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等线" panose="02010600030101010101" pitchFamily="2" charset="-122"/>
                <a:ea typeface="等线" panose="02010600030101010101" pitchFamily="2" charset="-122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等线" panose="02010600030101010101" pitchFamily="2" charset="-122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7F36F98B-E42E-E9BA-7A00-C49796E50F5E}"/>
              </a:ext>
            </a:extLst>
          </p:cNvPr>
          <p:cNvGrpSpPr/>
          <p:nvPr/>
        </p:nvGrpSpPr>
        <p:grpSpPr>
          <a:xfrm>
            <a:off x="843314" y="1977041"/>
            <a:ext cx="10785970" cy="2585156"/>
            <a:chOff x="739040" y="2562578"/>
            <a:chExt cx="10785970" cy="2585156"/>
          </a:xfrm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6F542FD-97E2-7351-264A-65227DB3AE02}"/>
                </a:ext>
              </a:extLst>
            </p:cNvPr>
            <p:cNvSpPr/>
            <p:nvPr/>
          </p:nvSpPr>
          <p:spPr>
            <a:xfrm>
              <a:off x="739040" y="2562578"/>
              <a:ext cx="10679290" cy="2585156"/>
            </a:xfrm>
            <a:custGeom>
              <a:avLst/>
              <a:gdLst>
                <a:gd name="connsiteX0" fmla="*/ 0 w 11971867"/>
                <a:gd name="connsiteY0" fmla="*/ 1292578 h 2585155"/>
                <a:gd name="connsiteX1" fmla="*/ 1292578 w 11971867"/>
                <a:gd name="connsiteY1" fmla="*/ 0 h 2585155"/>
                <a:gd name="connsiteX2" fmla="*/ 10679290 w 11971867"/>
                <a:gd name="connsiteY2" fmla="*/ 0 h 2585155"/>
                <a:gd name="connsiteX3" fmla="*/ 11971868 w 11971867"/>
                <a:gd name="connsiteY3" fmla="*/ 1292578 h 2585155"/>
                <a:gd name="connsiteX4" fmla="*/ 11971867 w 11971867"/>
                <a:gd name="connsiteY4" fmla="*/ 1292578 h 2585155"/>
                <a:gd name="connsiteX5" fmla="*/ 10679289 w 11971867"/>
                <a:gd name="connsiteY5" fmla="*/ 2585156 h 2585155"/>
                <a:gd name="connsiteX6" fmla="*/ 1292578 w 11971867"/>
                <a:gd name="connsiteY6" fmla="*/ 2585155 h 2585155"/>
                <a:gd name="connsiteX7" fmla="*/ 0 w 11971867"/>
                <a:gd name="connsiteY7" fmla="*/ 1292577 h 2585155"/>
                <a:gd name="connsiteX8" fmla="*/ 0 w 11971867"/>
                <a:gd name="connsiteY8" fmla="*/ 1292578 h 2585155"/>
                <a:gd name="connsiteX0" fmla="*/ 0 w 11971868"/>
                <a:gd name="connsiteY0" fmla="*/ 1292577 h 2585156"/>
                <a:gd name="connsiteX1" fmla="*/ 1292578 w 11971868"/>
                <a:gd name="connsiteY1" fmla="*/ 0 h 2585156"/>
                <a:gd name="connsiteX2" fmla="*/ 10679290 w 11971868"/>
                <a:gd name="connsiteY2" fmla="*/ 0 h 2585156"/>
                <a:gd name="connsiteX3" fmla="*/ 11971868 w 11971868"/>
                <a:gd name="connsiteY3" fmla="*/ 1292578 h 2585156"/>
                <a:gd name="connsiteX4" fmla="*/ 11971867 w 11971868"/>
                <a:gd name="connsiteY4" fmla="*/ 1292578 h 2585156"/>
                <a:gd name="connsiteX5" fmla="*/ 10679289 w 11971868"/>
                <a:gd name="connsiteY5" fmla="*/ 2585156 h 2585156"/>
                <a:gd name="connsiteX6" fmla="*/ 1292578 w 11971868"/>
                <a:gd name="connsiteY6" fmla="*/ 2585155 h 2585156"/>
                <a:gd name="connsiteX7" fmla="*/ 0 w 11971868"/>
                <a:gd name="connsiteY7" fmla="*/ 1292577 h 2585156"/>
                <a:gd name="connsiteX0" fmla="*/ 1292578 w 11971868"/>
                <a:gd name="connsiteY0" fmla="*/ 0 h 2585156"/>
                <a:gd name="connsiteX1" fmla="*/ 10679290 w 11971868"/>
                <a:gd name="connsiteY1" fmla="*/ 0 h 2585156"/>
                <a:gd name="connsiteX2" fmla="*/ 11971868 w 11971868"/>
                <a:gd name="connsiteY2" fmla="*/ 1292578 h 2585156"/>
                <a:gd name="connsiteX3" fmla="*/ 11971867 w 11971868"/>
                <a:gd name="connsiteY3" fmla="*/ 1292578 h 2585156"/>
                <a:gd name="connsiteX4" fmla="*/ 10679289 w 11971868"/>
                <a:gd name="connsiteY4" fmla="*/ 2585156 h 2585156"/>
                <a:gd name="connsiteX5" fmla="*/ 1292578 w 11971868"/>
                <a:gd name="connsiteY5" fmla="*/ 2585155 h 2585156"/>
                <a:gd name="connsiteX6" fmla="*/ 0 w 11971868"/>
                <a:gd name="connsiteY6" fmla="*/ 1292577 h 2585156"/>
                <a:gd name="connsiteX7" fmla="*/ 1384018 w 11971868"/>
                <a:gd name="connsiteY7" fmla="*/ 91440 h 2585156"/>
                <a:gd name="connsiteX0" fmla="*/ 1292578 w 11971868"/>
                <a:gd name="connsiteY0" fmla="*/ 0 h 2585156"/>
                <a:gd name="connsiteX1" fmla="*/ 10679290 w 11971868"/>
                <a:gd name="connsiteY1" fmla="*/ 0 h 2585156"/>
                <a:gd name="connsiteX2" fmla="*/ 11971868 w 11971868"/>
                <a:gd name="connsiteY2" fmla="*/ 1292578 h 2585156"/>
                <a:gd name="connsiteX3" fmla="*/ 11971867 w 11971868"/>
                <a:gd name="connsiteY3" fmla="*/ 1292578 h 2585156"/>
                <a:gd name="connsiteX4" fmla="*/ 10679289 w 11971868"/>
                <a:gd name="connsiteY4" fmla="*/ 2585156 h 2585156"/>
                <a:gd name="connsiteX5" fmla="*/ 1292578 w 11971868"/>
                <a:gd name="connsiteY5" fmla="*/ 2585155 h 2585156"/>
                <a:gd name="connsiteX6" fmla="*/ 0 w 11971868"/>
                <a:gd name="connsiteY6" fmla="*/ 1292577 h 2585156"/>
                <a:gd name="connsiteX0" fmla="*/ 0 w 10679290"/>
                <a:gd name="connsiteY0" fmla="*/ 0 h 2585156"/>
                <a:gd name="connsiteX1" fmla="*/ 9386712 w 10679290"/>
                <a:gd name="connsiteY1" fmla="*/ 0 h 2585156"/>
                <a:gd name="connsiteX2" fmla="*/ 10679290 w 10679290"/>
                <a:gd name="connsiteY2" fmla="*/ 1292578 h 2585156"/>
                <a:gd name="connsiteX3" fmla="*/ 10679289 w 10679290"/>
                <a:gd name="connsiteY3" fmla="*/ 1292578 h 2585156"/>
                <a:gd name="connsiteX4" fmla="*/ 9386711 w 10679290"/>
                <a:gd name="connsiteY4" fmla="*/ 2585156 h 2585156"/>
                <a:gd name="connsiteX5" fmla="*/ 0 w 10679290"/>
                <a:gd name="connsiteY5" fmla="*/ 2585155 h 258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79290" h="2585156">
                  <a:moveTo>
                    <a:pt x="0" y="0"/>
                  </a:moveTo>
                  <a:lnTo>
                    <a:pt x="9386712" y="0"/>
                  </a:lnTo>
                  <a:cubicBezTo>
                    <a:pt x="10100583" y="0"/>
                    <a:pt x="10679290" y="578707"/>
                    <a:pt x="10679290" y="1292578"/>
                  </a:cubicBezTo>
                  <a:lnTo>
                    <a:pt x="10679289" y="1292578"/>
                  </a:lnTo>
                  <a:cubicBezTo>
                    <a:pt x="10679289" y="2006449"/>
                    <a:pt x="10100582" y="2585156"/>
                    <a:pt x="9386711" y="2585156"/>
                  </a:cubicBezTo>
                  <a:lnTo>
                    <a:pt x="0" y="2585155"/>
                  </a:lnTo>
                </a:path>
              </a:pathLst>
            </a:cu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2" name="箭头: V 形 11">
              <a:extLst>
                <a:ext uri="{FF2B5EF4-FFF2-40B4-BE49-F238E27FC236}">
                  <a16:creationId xmlns:a16="http://schemas.microsoft.com/office/drawing/2014/main" id="{AB763363-346A-8C75-EEF2-42A0528B2517}"/>
                </a:ext>
              </a:extLst>
            </p:cNvPr>
            <p:cNvSpPr/>
            <p:nvPr/>
          </p:nvSpPr>
          <p:spPr>
            <a:xfrm rot="5400000">
              <a:off x="11305458" y="3748476"/>
              <a:ext cx="225743" cy="213360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3" name="箭头: V 形 12">
              <a:extLst>
                <a:ext uri="{FF2B5EF4-FFF2-40B4-BE49-F238E27FC236}">
                  <a16:creationId xmlns:a16="http://schemas.microsoft.com/office/drawing/2014/main" id="{81C4D19B-DA3B-8B44-8420-7916FF316983}"/>
                </a:ext>
              </a:extLst>
            </p:cNvPr>
            <p:cNvSpPr/>
            <p:nvPr/>
          </p:nvSpPr>
          <p:spPr>
            <a:xfrm rot="5591326">
              <a:off x="11284105" y="3953883"/>
              <a:ext cx="225743" cy="213360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4" name="箭头: V 形 13">
              <a:extLst>
                <a:ext uri="{FF2B5EF4-FFF2-40B4-BE49-F238E27FC236}">
                  <a16:creationId xmlns:a16="http://schemas.microsoft.com/office/drawing/2014/main" id="{F45FEBD3-8FE0-03A2-5730-2B5EB255CE42}"/>
                </a:ext>
              </a:extLst>
            </p:cNvPr>
            <p:cNvSpPr/>
            <p:nvPr/>
          </p:nvSpPr>
          <p:spPr>
            <a:xfrm rot="5042178">
              <a:off x="11295972" y="3525148"/>
              <a:ext cx="225743" cy="213360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31586DE2-17A4-EC8E-87A5-7D1BD32EF9AF}"/>
              </a:ext>
            </a:extLst>
          </p:cNvPr>
          <p:cNvGrpSpPr/>
          <p:nvPr/>
        </p:nvGrpSpPr>
        <p:grpSpPr>
          <a:xfrm>
            <a:off x="1750355" y="1791968"/>
            <a:ext cx="370146" cy="370142"/>
            <a:chOff x="1789395" y="2324045"/>
            <a:chExt cx="477072" cy="477068"/>
          </a:xfrm>
        </p:grpSpPr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1500C20E-8193-BB32-7FB0-C333909A31DC}"/>
                </a:ext>
              </a:extLst>
            </p:cNvPr>
            <p:cNvSpPr/>
            <p:nvPr/>
          </p:nvSpPr>
          <p:spPr>
            <a:xfrm>
              <a:off x="1789395" y="2324045"/>
              <a:ext cx="477072" cy="477068"/>
            </a:xfrm>
            <a:prstGeom prst="ellipse">
              <a:avLst/>
            </a:prstGeom>
            <a:noFill/>
            <a:ln w="6350">
              <a:solidFill>
                <a:schemeClr val="accent1"/>
              </a:solidFill>
              <a:prstDash val="dash"/>
            </a:ln>
            <a:effectLst>
              <a:outerShdw blurRad="1905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7" name="矩形: 圆角 16">
              <a:extLst>
                <a:ext uri="{FF2B5EF4-FFF2-40B4-BE49-F238E27FC236}">
                  <a16:creationId xmlns:a16="http://schemas.microsoft.com/office/drawing/2014/main" id="{727C9E74-9734-5573-EABC-E40D266657A7}"/>
                </a:ext>
              </a:extLst>
            </p:cNvPr>
            <p:cNvSpPr/>
            <p:nvPr/>
          </p:nvSpPr>
          <p:spPr>
            <a:xfrm>
              <a:off x="1843434" y="2387784"/>
              <a:ext cx="368992" cy="349588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0000">
                  <a:schemeClr val="accent3">
                    <a:lumMod val="20000"/>
                    <a:lumOff val="80000"/>
                  </a:schemeClr>
                </a:gs>
                <a:gs pos="0">
                  <a:schemeClr val="bg1"/>
                </a:gs>
              </a:gsLst>
              <a:lin ang="18900000" scaled="1"/>
              <a:tileRect/>
            </a:gradFill>
            <a:ln w="19050">
              <a:gradFill flip="none" rotWithShape="1"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/>
                  </a:gs>
                </a:gsLst>
                <a:lin ang="5400000" scaled="1"/>
                <a:tileRect/>
              </a:gradFill>
            </a:ln>
            <a:effectLst>
              <a:outerShdw blurRad="50800" dist="63500" dir="5400000" algn="t" rotWithShape="0">
                <a:schemeClr val="accent2">
                  <a:lumMod val="50000"/>
                  <a:alpha val="29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 dirty="0"/>
            </a:p>
          </p:txBody>
        </p:sp>
      </p:grpSp>
      <p:sp>
        <p:nvSpPr>
          <p:cNvPr id="18" name="文本框 17">
            <a:extLst>
              <a:ext uri="{FF2B5EF4-FFF2-40B4-BE49-F238E27FC236}">
                <a16:creationId xmlns:a16="http://schemas.microsoft.com/office/drawing/2014/main" id="{C16A3B58-9C4C-2378-9A31-1515EE3BE6C9}"/>
              </a:ext>
            </a:extLst>
          </p:cNvPr>
          <p:cNvSpPr txBox="1"/>
          <p:nvPr/>
        </p:nvSpPr>
        <p:spPr>
          <a:xfrm>
            <a:off x="1248619" y="1281824"/>
            <a:ext cx="1428150" cy="374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项目启动会</a:t>
            </a:r>
            <a:endParaRPr lang="en-US" altLang="zh-CN" sz="2000" dirty="0">
              <a:solidFill>
                <a:schemeClr val="tx1">
                  <a:lumMod val="75000"/>
                  <a:lumOff val="25000"/>
                </a:schemeClr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F036AEF6-D65C-D7EC-EBD0-4357E710699C}"/>
              </a:ext>
            </a:extLst>
          </p:cNvPr>
          <p:cNvGrpSpPr/>
          <p:nvPr/>
        </p:nvGrpSpPr>
        <p:grpSpPr>
          <a:xfrm>
            <a:off x="1750355" y="4377126"/>
            <a:ext cx="370146" cy="370142"/>
            <a:chOff x="1789395" y="2324045"/>
            <a:chExt cx="477072" cy="477068"/>
          </a:xfrm>
        </p:grpSpPr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71AE2CD3-6E00-01BD-F190-042F04FEF964}"/>
                </a:ext>
              </a:extLst>
            </p:cNvPr>
            <p:cNvSpPr/>
            <p:nvPr/>
          </p:nvSpPr>
          <p:spPr>
            <a:xfrm>
              <a:off x="1789395" y="2324045"/>
              <a:ext cx="477072" cy="477068"/>
            </a:xfrm>
            <a:prstGeom prst="ellipse">
              <a:avLst/>
            </a:prstGeom>
            <a:noFill/>
            <a:ln w="6350">
              <a:solidFill>
                <a:schemeClr val="accent1"/>
              </a:solidFill>
              <a:prstDash val="dash"/>
            </a:ln>
            <a:effectLst>
              <a:outerShdw blurRad="1905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1" name="矩形: 圆角 20">
              <a:extLst>
                <a:ext uri="{FF2B5EF4-FFF2-40B4-BE49-F238E27FC236}">
                  <a16:creationId xmlns:a16="http://schemas.microsoft.com/office/drawing/2014/main" id="{63F95DBB-30DB-E039-FA30-927253BCE7FC}"/>
                </a:ext>
              </a:extLst>
            </p:cNvPr>
            <p:cNvSpPr/>
            <p:nvPr/>
          </p:nvSpPr>
          <p:spPr>
            <a:xfrm>
              <a:off x="1843434" y="2387784"/>
              <a:ext cx="368992" cy="349588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0000">
                  <a:schemeClr val="accent3">
                    <a:lumMod val="20000"/>
                    <a:lumOff val="80000"/>
                  </a:schemeClr>
                </a:gs>
                <a:gs pos="0">
                  <a:schemeClr val="bg1"/>
                </a:gs>
              </a:gsLst>
              <a:lin ang="18900000" scaled="1"/>
              <a:tileRect/>
            </a:gradFill>
            <a:ln w="19050">
              <a:gradFill flip="none" rotWithShape="1"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/>
                  </a:gs>
                </a:gsLst>
                <a:lin ang="5400000" scaled="1"/>
                <a:tileRect/>
              </a:gradFill>
            </a:ln>
            <a:effectLst>
              <a:outerShdw blurRad="50800" dist="63500" dir="5400000" algn="t" rotWithShape="0">
                <a:schemeClr val="accent2">
                  <a:lumMod val="50000"/>
                  <a:alpha val="29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22" name="文本框 21">
            <a:extLst>
              <a:ext uri="{FF2B5EF4-FFF2-40B4-BE49-F238E27FC236}">
                <a16:creationId xmlns:a16="http://schemas.microsoft.com/office/drawing/2014/main" id="{2CAF679B-57BC-CAC4-0C80-26792C2AA35E}"/>
              </a:ext>
            </a:extLst>
          </p:cNvPr>
          <p:cNvSpPr txBox="1"/>
          <p:nvPr/>
        </p:nvSpPr>
        <p:spPr>
          <a:xfrm>
            <a:off x="1248619" y="4917286"/>
            <a:ext cx="1428150" cy="374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正式量产</a:t>
            </a:r>
            <a:endParaRPr lang="en-US" altLang="zh-CN" sz="2000" dirty="0">
              <a:solidFill>
                <a:schemeClr val="tx1">
                  <a:lumMod val="75000"/>
                  <a:lumOff val="25000"/>
                </a:schemeClr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2FDB14E1-280E-2431-B6E6-C18E2E8FC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2495" y="332154"/>
            <a:ext cx="10040935" cy="600710"/>
          </a:xfrm>
        </p:spPr>
        <p:txBody>
          <a:bodyPr>
            <a:spAutoFit/>
          </a:bodyPr>
          <a:lstStyle/>
          <a:p>
            <a:r>
              <a:rPr lang="zh-CN" altLang="en-US" dirty="0">
                <a:latin typeface="等线 Light" panose="02010600030101010101" pitchFamily="2" charset="-122"/>
                <a:ea typeface="等线 Light" panose="02010600030101010101" pitchFamily="2" charset="-122"/>
              </a:rPr>
              <a:t>项目流程进展情况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EEA98644-0233-2B72-4AFA-07ED8C6C6D9E}"/>
              </a:ext>
            </a:extLst>
          </p:cNvPr>
          <p:cNvSpPr txBox="1"/>
          <p:nvPr/>
        </p:nvSpPr>
        <p:spPr>
          <a:xfrm>
            <a:off x="3733059" y="1281824"/>
            <a:ext cx="1428150" cy="3686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原型手稿</a:t>
            </a:r>
            <a:endParaRPr lang="en-US" altLang="zh-CN" sz="2000" dirty="0">
              <a:solidFill>
                <a:schemeClr val="tx1">
                  <a:lumMod val="75000"/>
                  <a:lumOff val="25000"/>
                </a:schemeClr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4F59E934-071C-6DBB-B284-22119ABA0639}"/>
              </a:ext>
            </a:extLst>
          </p:cNvPr>
          <p:cNvSpPr txBox="1"/>
          <p:nvPr/>
        </p:nvSpPr>
        <p:spPr>
          <a:xfrm>
            <a:off x="6217501" y="1281824"/>
            <a:ext cx="1428150" cy="374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原型设计</a:t>
            </a:r>
            <a:endParaRPr lang="en-US" altLang="zh-CN" sz="2000" dirty="0">
              <a:solidFill>
                <a:schemeClr val="tx1">
                  <a:lumMod val="75000"/>
                  <a:lumOff val="25000"/>
                </a:schemeClr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C06B6B52-3494-EE12-5D5A-EA4B40703547}"/>
              </a:ext>
            </a:extLst>
          </p:cNvPr>
          <p:cNvSpPr txBox="1"/>
          <p:nvPr/>
        </p:nvSpPr>
        <p:spPr>
          <a:xfrm>
            <a:off x="8587022" y="1281824"/>
            <a:ext cx="1685254" cy="3686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2000" dirty="0">
                <a:solidFill>
                  <a:schemeClr val="accent2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前端开发</a:t>
            </a:r>
            <a:endParaRPr lang="en-US" altLang="zh-CN" sz="2000" dirty="0">
              <a:solidFill>
                <a:schemeClr val="accent2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A88077C7-A39F-2A5A-485D-F555C5B3A373}"/>
              </a:ext>
            </a:extLst>
          </p:cNvPr>
          <p:cNvSpPr txBox="1"/>
          <p:nvPr/>
        </p:nvSpPr>
        <p:spPr>
          <a:xfrm>
            <a:off x="6217501" y="4917286"/>
            <a:ext cx="1428150" cy="3686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2000" dirty="0">
                <a:solidFill>
                  <a:schemeClr val="accent2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程序设计</a:t>
            </a:r>
            <a:endParaRPr lang="en-US" altLang="zh-CN" sz="2000" dirty="0">
              <a:solidFill>
                <a:schemeClr val="accent2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0F10BD5F-2827-5572-3B9D-1C16CC732D42}"/>
              </a:ext>
            </a:extLst>
          </p:cNvPr>
          <p:cNvSpPr txBox="1"/>
          <p:nvPr/>
        </p:nvSpPr>
        <p:spPr>
          <a:xfrm>
            <a:off x="3639307" y="4917286"/>
            <a:ext cx="1615655" cy="374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样机交付验收</a:t>
            </a:r>
            <a:endParaRPr lang="en-US" altLang="zh-CN" sz="2000" dirty="0">
              <a:solidFill>
                <a:schemeClr val="tx1">
                  <a:lumMod val="75000"/>
                  <a:lumOff val="25000"/>
                </a:schemeClr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grpSp>
        <p:nvGrpSpPr>
          <p:cNvPr id="49" name="组合 48">
            <a:extLst>
              <a:ext uri="{FF2B5EF4-FFF2-40B4-BE49-F238E27FC236}">
                <a16:creationId xmlns:a16="http://schemas.microsoft.com/office/drawing/2014/main" id="{27347668-6685-2683-9039-CD0357416E12}"/>
              </a:ext>
            </a:extLst>
          </p:cNvPr>
          <p:cNvGrpSpPr/>
          <p:nvPr/>
        </p:nvGrpSpPr>
        <p:grpSpPr>
          <a:xfrm>
            <a:off x="4242488" y="1791968"/>
            <a:ext cx="370146" cy="370142"/>
            <a:chOff x="1789395" y="2324045"/>
            <a:chExt cx="477072" cy="477068"/>
          </a:xfrm>
        </p:grpSpPr>
        <p:sp>
          <p:nvSpPr>
            <p:cNvPr id="50" name="椭圆 49">
              <a:extLst>
                <a:ext uri="{FF2B5EF4-FFF2-40B4-BE49-F238E27FC236}">
                  <a16:creationId xmlns:a16="http://schemas.microsoft.com/office/drawing/2014/main" id="{573442D3-D993-0173-CFCA-24261A0877F9}"/>
                </a:ext>
              </a:extLst>
            </p:cNvPr>
            <p:cNvSpPr/>
            <p:nvPr/>
          </p:nvSpPr>
          <p:spPr>
            <a:xfrm>
              <a:off x="1789395" y="2324045"/>
              <a:ext cx="477072" cy="477068"/>
            </a:xfrm>
            <a:prstGeom prst="ellipse">
              <a:avLst/>
            </a:prstGeom>
            <a:noFill/>
            <a:ln w="6350">
              <a:solidFill>
                <a:schemeClr val="accent1"/>
              </a:solidFill>
              <a:prstDash val="dash"/>
            </a:ln>
            <a:effectLst>
              <a:outerShdw blurRad="1905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51" name="矩形: 圆角 50">
              <a:extLst>
                <a:ext uri="{FF2B5EF4-FFF2-40B4-BE49-F238E27FC236}">
                  <a16:creationId xmlns:a16="http://schemas.microsoft.com/office/drawing/2014/main" id="{A8C8095E-F685-F847-3CD8-BBCCAD2591A7}"/>
                </a:ext>
              </a:extLst>
            </p:cNvPr>
            <p:cNvSpPr/>
            <p:nvPr/>
          </p:nvSpPr>
          <p:spPr>
            <a:xfrm>
              <a:off x="1843434" y="2387784"/>
              <a:ext cx="368992" cy="349588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0000">
                  <a:schemeClr val="accent3">
                    <a:lumMod val="20000"/>
                    <a:lumOff val="80000"/>
                  </a:schemeClr>
                </a:gs>
                <a:gs pos="0">
                  <a:schemeClr val="bg1"/>
                </a:gs>
              </a:gsLst>
              <a:lin ang="18900000" scaled="1"/>
              <a:tileRect/>
            </a:gradFill>
            <a:ln w="19050">
              <a:gradFill flip="none" rotWithShape="1"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/>
                  </a:gs>
                </a:gsLst>
                <a:lin ang="5400000" scaled="1"/>
                <a:tileRect/>
              </a:gradFill>
            </a:ln>
            <a:effectLst>
              <a:outerShdw blurRad="50800" dist="63500" dir="5400000" algn="t" rotWithShape="0">
                <a:schemeClr val="accent2">
                  <a:lumMod val="50000"/>
                  <a:alpha val="29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grpSp>
        <p:nvGrpSpPr>
          <p:cNvPr id="52" name="组合 51">
            <a:extLst>
              <a:ext uri="{FF2B5EF4-FFF2-40B4-BE49-F238E27FC236}">
                <a16:creationId xmlns:a16="http://schemas.microsoft.com/office/drawing/2014/main" id="{B096A53C-E4D8-5EA9-74C9-2F562E5C12D0}"/>
              </a:ext>
            </a:extLst>
          </p:cNvPr>
          <p:cNvGrpSpPr/>
          <p:nvPr/>
        </p:nvGrpSpPr>
        <p:grpSpPr>
          <a:xfrm>
            <a:off x="6746503" y="1791968"/>
            <a:ext cx="370146" cy="370142"/>
            <a:chOff x="1789395" y="2324045"/>
            <a:chExt cx="477072" cy="477068"/>
          </a:xfrm>
        </p:grpSpPr>
        <p:sp>
          <p:nvSpPr>
            <p:cNvPr id="53" name="椭圆 52">
              <a:extLst>
                <a:ext uri="{FF2B5EF4-FFF2-40B4-BE49-F238E27FC236}">
                  <a16:creationId xmlns:a16="http://schemas.microsoft.com/office/drawing/2014/main" id="{6833F6C4-C5A4-41EA-2FD2-BF108550F3F8}"/>
                </a:ext>
              </a:extLst>
            </p:cNvPr>
            <p:cNvSpPr/>
            <p:nvPr/>
          </p:nvSpPr>
          <p:spPr>
            <a:xfrm>
              <a:off x="1789395" y="2324045"/>
              <a:ext cx="477072" cy="477068"/>
            </a:xfrm>
            <a:prstGeom prst="ellipse">
              <a:avLst/>
            </a:prstGeom>
            <a:noFill/>
            <a:ln w="6350">
              <a:solidFill>
                <a:schemeClr val="accent1"/>
              </a:solidFill>
              <a:prstDash val="dash"/>
            </a:ln>
            <a:effectLst>
              <a:outerShdw blurRad="1905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54" name="矩形: 圆角 53">
              <a:extLst>
                <a:ext uri="{FF2B5EF4-FFF2-40B4-BE49-F238E27FC236}">
                  <a16:creationId xmlns:a16="http://schemas.microsoft.com/office/drawing/2014/main" id="{D9726C39-DB58-004C-6DA4-B7AB48823000}"/>
                </a:ext>
              </a:extLst>
            </p:cNvPr>
            <p:cNvSpPr/>
            <p:nvPr/>
          </p:nvSpPr>
          <p:spPr>
            <a:xfrm>
              <a:off x="1843434" y="2387784"/>
              <a:ext cx="368992" cy="349588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0000">
                  <a:schemeClr val="accent3">
                    <a:lumMod val="20000"/>
                    <a:lumOff val="80000"/>
                  </a:schemeClr>
                </a:gs>
                <a:gs pos="0">
                  <a:schemeClr val="bg1"/>
                </a:gs>
              </a:gsLst>
              <a:lin ang="18900000" scaled="1"/>
              <a:tileRect/>
            </a:gradFill>
            <a:ln w="19050">
              <a:gradFill flip="none" rotWithShape="1"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/>
                  </a:gs>
                </a:gsLst>
                <a:lin ang="5400000" scaled="1"/>
                <a:tileRect/>
              </a:gradFill>
            </a:ln>
            <a:effectLst>
              <a:outerShdw blurRad="50800" dist="63500" dir="5400000" algn="t" rotWithShape="0">
                <a:schemeClr val="accent2">
                  <a:lumMod val="50000"/>
                  <a:alpha val="29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grpSp>
        <p:nvGrpSpPr>
          <p:cNvPr id="55" name="组合 54">
            <a:extLst>
              <a:ext uri="{FF2B5EF4-FFF2-40B4-BE49-F238E27FC236}">
                <a16:creationId xmlns:a16="http://schemas.microsoft.com/office/drawing/2014/main" id="{C586752D-0FD0-68FF-76F5-B68665CE4DA6}"/>
              </a:ext>
            </a:extLst>
          </p:cNvPr>
          <p:cNvGrpSpPr/>
          <p:nvPr/>
        </p:nvGrpSpPr>
        <p:grpSpPr>
          <a:xfrm>
            <a:off x="9250923" y="1791968"/>
            <a:ext cx="370146" cy="370142"/>
            <a:chOff x="1789395" y="2324045"/>
            <a:chExt cx="477072" cy="477068"/>
          </a:xfrm>
        </p:grpSpPr>
        <p:sp>
          <p:nvSpPr>
            <p:cNvPr id="56" name="椭圆 55">
              <a:extLst>
                <a:ext uri="{FF2B5EF4-FFF2-40B4-BE49-F238E27FC236}">
                  <a16:creationId xmlns:a16="http://schemas.microsoft.com/office/drawing/2014/main" id="{98ACFC12-CAD3-43E5-7BB5-2E71C4B696BD}"/>
                </a:ext>
              </a:extLst>
            </p:cNvPr>
            <p:cNvSpPr/>
            <p:nvPr/>
          </p:nvSpPr>
          <p:spPr>
            <a:xfrm>
              <a:off x="1789395" y="2324045"/>
              <a:ext cx="477072" cy="477068"/>
            </a:xfrm>
            <a:prstGeom prst="ellipse">
              <a:avLst/>
            </a:prstGeom>
            <a:noFill/>
            <a:ln w="6350">
              <a:solidFill>
                <a:schemeClr val="accent1"/>
              </a:solidFill>
              <a:prstDash val="dash"/>
            </a:ln>
            <a:effectLst>
              <a:outerShdw blurRad="1905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57" name="矩形: 圆角 56">
              <a:extLst>
                <a:ext uri="{FF2B5EF4-FFF2-40B4-BE49-F238E27FC236}">
                  <a16:creationId xmlns:a16="http://schemas.microsoft.com/office/drawing/2014/main" id="{D38CD3D6-755E-4C3F-F9B4-8E8379F546CD}"/>
                </a:ext>
              </a:extLst>
            </p:cNvPr>
            <p:cNvSpPr/>
            <p:nvPr/>
          </p:nvSpPr>
          <p:spPr>
            <a:xfrm>
              <a:off x="1843434" y="2387784"/>
              <a:ext cx="368992" cy="349588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artisticFilmGrain grainSize="20"/>
                        </a14:imgEffect>
                        <a14:imgEffect>
                          <a14:brightnessContrast bright="50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140990" t="-263396" r="-16204" b="-554006"/>
              </a:stretch>
            </a:blipFill>
            <a:ln w="19050">
              <a:gradFill flip="none" rotWithShape="1"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/>
                  </a:gs>
                </a:gsLst>
                <a:lin ang="5400000" scaled="1"/>
                <a:tileRect/>
              </a:gradFill>
            </a:ln>
            <a:effectLst>
              <a:outerShdw blurRad="50800" dist="63500" dir="5400000" algn="t" rotWithShape="0">
                <a:schemeClr val="accent2">
                  <a:lumMod val="50000"/>
                  <a:alpha val="29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EA96D922-BF73-F09F-80A2-5114282BEC18}"/>
              </a:ext>
            </a:extLst>
          </p:cNvPr>
          <p:cNvGrpSpPr/>
          <p:nvPr/>
        </p:nvGrpSpPr>
        <p:grpSpPr>
          <a:xfrm>
            <a:off x="4242488" y="4377126"/>
            <a:ext cx="370146" cy="370142"/>
            <a:chOff x="1789395" y="2324045"/>
            <a:chExt cx="477072" cy="477068"/>
          </a:xfrm>
        </p:grpSpPr>
        <p:sp>
          <p:nvSpPr>
            <p:cNvPr id="62" name="椭圆 61">
              <a:extLst>
                <a:ext uri="{FF2B5EF4-FFF2-40B4-BE49-F238E27FC236}">
                  <a16:creationId xmlns:a16="http://schemas.microsoft.com/office/drawing/2014/main" id="{AB09E24E-0593-36C9-A490-D21CCA79224D}"/>
                </a:ext>
              </a:extLst>
            </p:cNvPr>
            <p:cNvSpPr/>
            <p:nvPr/>
          </p:nvSpPr>
          <p:spPr>
            <a:xfrm>
              <a:off x="1789395" y="2324045"/>
              <a:ext cx="477072" cy="477068"/>
            </a:xfrm>
            <a:prstGeom prst="ellipse">
              <a:avLst/>
            </a:prstGeom>
            <a:noFill/>
            <a:ln w="6350">
              <a:solidFill>
                <a:schemeClr val="accent1"/>
              </a:solidFill>
              <a:prstDash val="dash"/>
            </a:ln>
            <a:effectLst>
              <a:outerShdw blurRad="1905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3" name="矩形: 圆角 62">
              <a:extLst>
                <a:ext uri="{FF2B5EF4-FFF2-40B4-BE49-F238E27FC236}">
                  <a16:creationId xmlns:a16="http://schemas.microsoft.com/office/drawing/2014/main" id="{8F66C39C-BAA7-97FE-CF6D-3D313167ADC9}"/>
                </a:ext>
              </a:extLst>
            </p:cNvPr>
            <p:cNvSpPr/>
            <p:nvPr/>
          </p:nvSpPr>
          <p:spPr>
            <a:xfrm>
              <a:off x="1843434" y="2387784"/>
              <a:ext cx="368992" cy="349588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0000">
                  <a:schemeClr val="accent3">
                    <a:lumMod val="20000"/>
                    <a:lumOff val="80000"/>
                  </a:schemeClr>
                </a:gs>
                <a:gs pos="0">
                  <a:schemeClr val="bg1"/>
                </a:gs>
              </a:gsLst>
              <a:lin ang="18900000" scaled="1"/>
              <a:tileRect/>
            </a:gradFill>
            <a:ln w="19050">
              <a:gradFill flip="none" rotWithShape="1"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/>
                  </a:gs>
                </a:gsLst>
                <a:lin ang="5400000" scaled="1"/>
                <a:tileRect/>
              </a:gradFill>
            </a:ln>
            <a:effectLst>
              <a:outerShdw blurRad="50800" dist="63500" dir="5400000" algn="t" rotWithShape="0">
                <a:schemeClr val="accent2">
                  <a:lumMod val="50000"/>
                  <a:alpha val="29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08B8FB7B-BAEC-709A-00B0-2B6BB9988CA6}"/>
              </a:ext>
            </a:extLst>
          </p:cNvPr>
          <p:cNvGrpSpPr/>
          <p:nvPr/>
        </p:nvGrpSpPr>
        <p:grpSpPr>
          <a:xfrm>
            <a:off x="6746503" y="4377126"/>
            <a:ext cx="370146" cy="370142"/>
            <a:chOff x="1789395" y="2324045"/>
            <a:chExt cx="477072" cy="477068"/>
          </a:xfrm>
        </p:grpSpPr>
        <p:sp>
          <p:nvSpPr>
            <p:cNvPr id="65" name="椭圆 64">
              <a:extLst>
                <a:ext uri="{FF2B5EF4-FFF2-40B4-BE49-F238E27FC236}">
                  <a16:creationId xmlns:a16="http://schemas.microsoft.com/office/drawing/2014/main" id="{16AD66C5-DD22-4BAE-E486-E40EB74A22D7}"/>
                </a:ext>
              </a:extLst>
            </p:cNvPr>
            <p:cNvSpPr/>
            <p:nvPr/>
          </p:nvSpPr>
          <p:spPr>
            <a:xfrm>
              <a:off x="1789395" y="2324045"/>
              <a:ext cx="477072" cy="477068"/>
            </a:xfrm>
            <a:prstGeom prst="ellipse">
              <a:avLst/>
            </a:prstGeom>
            <a:noFill/>
            <a:ln w="6350">
              <a:solidFill>
                <a:schemeClr val="accent1"/>
              </a:solidFill>
              <a:prstDash val="dash"/>
            </a:ln>
            <a:effectLst>
              <a:outerShdw blurRad="1905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6" name="矩形: 圆角 65">
              <a:extLst>
                <a:ext uri="{FF2B5EF4-FFF2-40B4-BE49-F238E27FC236}">
                  <a16:creationId xmlns:a16="http://schemas.microsoft.com/office/drawing/2014/main" id="{7868D503-80DA-C7D3-EF20-D4E7C1513AF9}"/>
                </a:ext>
              </a:extLst>
            </p:cNvPr>
            <p:cNvSpPr/>
            <p:nvPr/>
          </p:nvSpPr>
          <p:spPr>
            <a:xfrm>
              <a:off x="1843434" y="2387784"/>
              <a:ext cx="368992" cy="349588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0000">
                  <a:schemeClr val="accent3">
                    <a:lumMod val="20000"/>
                    <a:lumOff val="80000"/>
                  </a:schemeClr>
                </a:gs>
                <a:gs pos="0">
                  <a:schemeClr val="bg1"/>
                </a:gs>
              </a:gsLst>
              <a:lin ang="18900000" scaled="1"/>
              <a:tileRect/>
            </a:gradFill>
            <a:ln w="19050">
              <a:gradFill flip="none" rotWithShape="1"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/>
                  </a:gs>
                </a:gsLst>
                <a:lin ang="5400000" scaled="1"/>
                <a:tileRect/>
              </a:gradFill>
            </a:ln>
            <a:effectLst>
              <a:outerShdw blurRad="50800" dist="63500" dir="5400000" algn="t" rotWithShape="0">
                <a:schemeClr val="accent2">
                  <a:lumMod val="50000"/>
                  <a:alpha val="29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pic>
        <p:nvPicPr>
          <p:cNvPr id="24" name="图片 23">
            <a:extLst>
              <a:ext uri="{FF2B5EF4-FFF2-40B4-BE49-F238E27FC236}">
                <a16:creationId xmlns:a16="http://schemas.microsoft.com/office/drawing/2014/main" id="{C59051F8-DDB0-C1FE-EF36-5E1C9472C8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847" y="2493940"/>
            <a:ext cx="5737725" cy="2964279"/>
          </a:xfrm>
          <a:prstGeom prst="rect">
            <a:avLst/>
          </a:prstGeom>
        </p:spPr>
      </p:pic>
      <p:sp>
        <p:nvSpPr>
          <p:cNvPr id="25" name="文本框 24">
            <a:extLst>
              <a:ext uri="{FF2B5EF4-FFF2-40B4-BE49-F238E27FC236}">
                <a16:creationId xmlns:a16="http://schemas.microsoft.com/office/drawing/2014/main" id="{E01F7E5F-3283-5411-6C46-5D07D6A24D70}"/>
              </a:ext>
            </a:extLst>
          </p:cNvPr>
          <p:cNvSpPr txBox="1"/>
          <p:nvPr/>
        </p:nvSpPr>
        <p:spPr>
          <a:xfrm>
            <a:off x="6458691" y="3067164"/>
            <a:ext cx="4106779" cy="861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2000" dirty="0">
                <a:solidFill>
                  <a:schemeClr val="accent2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预计设计宿舍信息表，水电费表，用户信息表，报修信息表，消息表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9402D3A6-8088-5FF0-8BAD-9B7ECA43E29A}"/>
              </a:ext>
            </a:extLst>
          </p:cNvPr>
          <p:cNvSpPr txBox="1"/>
          <p:nvPr/>
        </p:nvSpPr>
        <p:spPr>
          <a:xfrm>
            <a:off x="1949117" y="5606374"/>
            <a:ext cx="5901392" cy="861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2000" dirty="0">
                <a:solidFill>
                  <a:schemeClr val="accent2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设计公告信息数据库表，界面上加入可编辑的</a:t>
            </a:r>
            <a:r>
              <a:rPr lang="en-US" altLang="zh-CN" sz="2000" dirty="0" err="1">
                <a:solidFill>
                  <a:schemeClr val="accent2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vue</a:t>
            </a:r>
            <a:r>
              <a:rPr lang="en-US" altLang="zh-CN" sz="2000" dirty="0">
                <a:solidFill>
                  <a:schemeClr val="accent2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-quill-editor</a:t>
            </a:r>
            <a:r>
              <a:rPr lang="zh-CN" altLang="en-US" sz="2000" dirty="0">
                <a:solidFill>
                  <a:schemeClr val="accent2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富文本组件，保存之后数据存入数据库。</a:t>
            </a:r>
          </a:p>
        </p:txBody>
      </p:sp>
    </p:spTree>
    <p:extLst>
      <p:ext uri="{BB962C8B-B14F-4D97-AF65-F5344CB8AC3E}">
        <p14:creationId xmlns:p14="http://schemas.microsoft.com/office/powerpoint/2010/main" val="22660696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0459C5BF-8887-44EF-8A67-08FD3142F6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1675" y="6155617"/>
            <a:ext cx="804707" cy="153888"/>
          </a:xfrm>
        </p:spPr>
        <p:txBody>
          <a:bodyPr>
            <a:spAutoFit/>
          </a:bodyPr>
          <a:lstStyle/>
          <a:p>
            <a:r>
              <a:rPr lang="en-US" altLang="zh-CN" dirty="0">
                <a:latin typeface="等线" panose="02010600030101010101" pitchFamily="2" charset="-122"/>
                <a:ea typeface="等线" panose="02010600030101010101" pitchFamily="2" charset="-122"/>
              </a:rPr>
              <a:t>2024·Nov 16th</a:t>
            </a:r>
            <a:endParaRPr lang="zh-CN" altLang="en-US" dirty="0"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7C243A7-9614-5F31-4027-59D967E359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247" y="201028"/>
            <a:ext cx="3362325" cy="116205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35FBCFBB-4DE8-3BE1-E8A5-43C56DF11F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6859" y="6155617"/>
            <a:ext cx="2110520" cy="288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607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YChf6MRIa7lON_pgbCdg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font">
      <a:majorFont>
        <a:latin typeface="等线 Light"/>
        <a:ea typeface="等线 Light"/>
        <a:cs typeface=""/>
      </a:majorFont>
      <a:minorFont>
        <a:latin typeface="等线"/>
        <a:ea typeface="等线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0</TotalTime>
  <Words>339</Words>
  <Application>Microsoft Office PowerPoint</Application>
  <PresentationFormat>宽屏</PresentationFormat>
  <Paragraphs>62</Paragraphs>
  <Slides>9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6" baseType="lpstr">
      <vt:lpstr>等线</vt:lpstr>
      <vt:lpstr>等线 Light</vt:lpstr>
      <vt:lpstr>仿宋</vt:lpstr>
      <vt:lpstr>思源黑体 CN Light</vt:lpstr>
      <vt:lpstr>Arial</vt:lpstr>
      <vt:lpstr>Office 主题​​</vt:lpstr>
      <vt:lpstr>think-cell Slide</vt:lpstr>
      <vt:lpstr>电击小子物业管理系统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项目流程进展情况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INGXUAN XIAO</dc:creator>
  <cp:lastModifiedBy>MINGXUAN XIAO</cp:lastModifiedBy>
  <cp:revision>6</cp:revision>
  <dcterms:created xsi:type="dcterms:W3CDTF">2024-11-14T15:25:37Z</dcterms:created>
  <dcterms:modified xsi:type="dcterms:W3CDTF">2024-11-15T14:49:10Z</dcterms:modified>
</cp:coreProperties>
</file>